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9" r:id="rId2"/>
    <p:sldId id="282" r:id="rId3"/>
    <p:sldId id="260" r:id="rId4"/>
    <p:sldId id="265" r:id="rId5"/>
    <p:sldId id="306" r:id="rId6"/>
    <p:sldId id="307" r:id="rId7"/>
    <p:sldId id="308" r:id="rId8"/>
    <p:sldId id="285" r:id="rId9"/>
    <p:sldId id="309" r:id="rId10"/>
    <p:sldId id="310" r:id="rId11"/>
    <p:sldId id="312" r:id="rId12"/>
    <p:sldId id="313" r:id="rId13"/>
    <p:sldId id="314" r:id="rId14"/>
    <p:sldId id="317" r:id="rId15"/>
    <p:sldId id="318" r:id="rId16"/>
    <p:sldId id="257" r:id="rId17"/>
    <p:sldId id="311" r:id="rId18"/>
    <p:sldId id="315" r:id="rId19"/>
  </p:sldIdLst>
  <p:sldSz cx="12192000" cy="6858000"/>
  <p:notesSz cx="6858000" cy="9144000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Segoe UI" panose="020B0502040204020203" pitchFamily="34" charset="0"/>
      <p:regular r:id="rId26"/>
      <p:bold r:id="rId27"/>
      <p:italic r:id="rId28"/>
      <p:boldItalic r:id="rId29"/>
    </p:embeddedFont>
    <p:embeddedFont>
      <p:font typeface="Segoe UI Light" panose="020B0502040204020203" pitchFamily="34" charset="0"/>
      <p:regular r:id="rId30"/>
      <p: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008ABB9-0A12-48F8-84CB-18048318FAE3}">
          <p14:sldIdLst>
            <p14:sldId id="259"/>
            <p14:sldId id="282"/>
            <p14:sldId id="260"/>
          </p14:sldIdLst>
        </p14:section>
        <p14:section name="Microsoft Teams und lokale Postfächer – Warum" id="{BE85D2C0-3C6A-44CE-B9AB-B00C56A548F2}">
          <p14:sldIdLst>
            <p14:sldId id="265"/>
            <p14:sldId id="306"/>
            <p14:sldId id="307"/>
            <p14:sldId id="308"/>
            <p14:sldId id="285"/>
            <p14:sldId id="309"/>
            <p14:sldId id="310"/>
            <p14:sldId id="312"/>
            <p14:sldId id="313"/>
            <p14:sldId id="314"/>
          </p14:sldIdLst>
        </p14:section>
        <p14:section name="Fragen" id="{046F49BF-51F3-4EDF-B5B4-FC03EFFA5FE2}">
          <p14:sldIdLst>
            <p14:sldId id="317"/>
            <p14:sldId id="318"/>
            <p14:sldId id="257"/>
          </p14:sldIdLst>
        </p14:section>
        <p14:section name="Resources" id="{303427BF-DAB2-49AB-A42A-1D12F85164A4}">
          <p14:sldIdLst>
            <p14:sldId id="311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067" userDrawn="1">
          <p15:clr>
            <a:srgbClr val="A4A3A4"/>
          </p15:clr>
        </p15:guide>
        <p15:guide id="3" orient="horz" pos="9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AA98"/>
    <a:srgbClr val="B5D6CD"/>
    <a:srgbClr val="74A9DA"/>
    <a:srgbClr val="046D8A"/>
    <a:srgbClr val="023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9F7F8B-7CA8-41D0-9950-96EBBF552938}" v="972" dt="2021-06-29T16:02:29.3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6748" autoAdjust="0"/>
  </p:normalViewPr>
  <p:slideViewPr>
    <p:cSldViewPr snapToGrid="0">
      <p:cViewPr varScale="1">
        <p:scale>
          <a:sx n="84" d="100"/>
          <a:sy n="84" d="100"/>
        </p:scale>
        <p:origin x="96" y="152"/>
      </p:cViewPr>
      <p:guideLst>
        <p:guide orient="horz" pos="2160"/>
        <p:guide pos="4067"/>
        <p:guide orient="horz" pos="9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45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21" Type="http://schemas.openxmlformats.org/officeDocument/2006/relationships/handoutMaster" Target="handoutMasters/handoutMaster1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57F7190E-C6DB-493D-9B38-21425F3349D1}"/>
    <pc:docChg chg="undo custSel addSld delSld modSld sldOrd modMainMaster addSection modSection">
      <pc:chgData name="Thomas Stensitzki" userId="75cafe6b-2f2a-469b-85c4-eec3b9c972ba" providerId="ADAL" clId="{57F7190E-C6DB-493D-9B38-21425F3349D1}" dt="2021-06-12T10:48:41.463" v="1366" actId="47"/>
      <pc:docMkLst>
        <pc:docMk/>
      </pc:docMkLst>
      <pc:sldChg chg="modSp mod">
        <pc:chgData name="Thomas Stensitzki" userId="75cafe6b-2f2a-469b-85c4-eec3b9c972ba" providerId="ADAL" clId="{57F7190E-C6DB-493D-9B38-21425F3349D1}" dt="2021-06-12T08:16:06.143" v="72" actId="20577"/>
        <pc:sldMkLst>
          <pc:docMk/>
          <pc:sldMk cId="2756875683" sldId="259"/>
        </pc:sldMkLst>
        <pc:spChg chg="mod">
          <ac:chgData name="Thomas Stensitzki" userId="75cafe6b-2f2a-469b-85c4-eec3b9c972ba" providerId="ADAL" clId="{57F7190E-C6DB-493D-9B38-21425F3349D1}" dt="2021-06-12T08:15:23.774" v="41" actId="6549"/>
          <ac:spMkLst>
            <pc:docMk/>
            <pc:sldMk cId="2756875683" sldId="259"/>
            <ac:spMk id="2" creationId="{00000000-0000-0000-0000-000000000000}"/>
          </ac:spMkLst>
        </pc:spChg>
        <pc:spChg chg="mod">
          <ac:chgData name="Thomas Stensitzki" userId="75cafe6b-2f2a-469b-85c4-eec3b9c972ba" providerId="ADAL" clId="{57F7190E-C6DB-493D-9B38-21425F3349D1}" dt="2021-06-12T08:16:06.143" v="72" actId="20577"/>
          <ac:spMkLst>
            <pc:docMk/>
            <pc:sldMk cId="2756875683" sldId="259"/>
            <ac:spMk id="3" creationId="{00000000-0000-0000-0000-000000000000}"/>
          </ac:spMkLst>
        </pc:spChg>
      </pc:sldChg>
      <pc:sldChg chg="ord">
        <pc:chgData name="Thomas Stensitzki" userId="75cafe6b-2f2a-469b-85c4-eec3b9c972ba" providerId="ADAL" clId="{57F7190E-C6DB-493D-9B38-21425F3349D1}" dt="2021-06-12T09:07:31.376" v="222"/>
        <pc:sldMkLst>
          <pc:docMk/>
          <pc:sldMk cId="2620922712" sldId="266"/>
        </pc:sldMkLst>
      </pc:sldChg>
      <pc:sldChg chg="ord">
        <pc:chgData name="Thomas Stensitzki" userId="75cafe6b-2f2a-469b-85c4-eec3b9c972ba" providerId="ADAL" clId="{57F7190E-C6DB-493D-9B38-21425F3349D1}" dt="2021-06-12T09:07:31.376" v="222"/>
        <pc:sldMkLst>
          <pc:docMk/>
          <pc:sldMk cId="2917785072" sldId="267"/>
        </pc:sldMkLst>
      </pc:sldChg>
      <pc:sldChg chg="new del">
        <pc:chgData name="Thomas Stensitzki" userId="75cafe6b-2f2a-469b-85c4-eec3b9c972ba" providerId="ADAL" clId="{57F7190E-C6DB-493D-9B38-21425F3349D1}" dt="2021-06-12T08:45:13.590" v="100" actId="680"/>
        <pc:sldMkLst>
          <pc:docMk/>
          <pc:sldMk cId="666746259" sldId="268"/>
        </pc:sldMkLst>
      </pc:sldChg>
      <pc:sldChg chg="addSp delSp modSp del mod modClrScheme chgLayout">
        <pc:chgData name="Thomas Stensitzki" userId="75cafe6b-2f2a-469b-85c4-eec3b9c972ba" providerId="ADAL" clId="{57F7190E-C6DB-493D-9B38-21425F3349D1}" dt="2021-06-12T09:06:03.752" v="215" actId="20577"/>
        <pc:sldMkLst>
          <pc:docMk/>
          <pc:sldMk cId="1871499924" sldId="268"/>
        </pc:sldMkLst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871499924" sldId="268"/>
            <ac:spMk id="3" creationId="{E1D40E2E-3E5C-4080-BE63-8607D083BD41}"/>
          </ac:spMkLst>
        </pc:spChg>
        <pc:spChg chg="add del mod">
          <ac:chgData name="Thomas Stensitzki" userId="75cafe6b-2f2a-469b-85c4-eec3b9c972ba" providerId="ADAL" clId="{57F7190E-C6DB-493D-9B38-21425F3349D1}" dt="2021-06-12T08:45:00.307" v="94" actId="478"/>
          <ac:spMkLst>
            <pc:docMk/>
            <pc:sldMk cId="1871499924" sldId="268"/>
            <ac:spMk id="4" creationId="{B8D55F9C-33B2-4D5A-B21B-E3DB92CACEBC}"/>
          </ac:spMkLst>
        </pc:spChg>
        <pc:spChg chg="add del mod">
          <ac:chgData name="Thomas Stensitzki" userId="75cafe6b-2f2a-469b-85c4-eec3b9c972ba" providerId="ADAL" clId="{57F7190E-C6DB-493D-9B38-21425F3349D1}" dt="2021-06-12T09:05:38.145" v="211" actId="478"/>
          <ac:spMkLst>
            <pc:docMk/>
            <pc:sldMk cId="1871499924" sldId="268"/>
            <ac:spMk id="4" creationId="{F38E43B9-BFE0-462F-915B-D912EB8607C5}"/>
          </ac:spMkLst>
        </pc:spChg>
        <pc:spChg chg="mod ord">
          <ac:chgData name="Thomas Stensitzki" userId="75cafe6b-2f2a-469b-85c4-eec3b9c972ba" providerId="ADAL" clId="{57F7190E-C6DB-493D-9B38-21425F3349D1}" dt="2021-06-12T09:06:03.752" v="215" actId="20577"/>
          <ac:spMkLst>
            <pc:docMk/>
            <pc:sldMk cId="1871499924" sldId="268"/>
            <ac:spMk id="5" creationId="{43BF9C18-1AEB-4D0A-8386-7DDD23143FF8}"/>
          </ac:spMkLst>
        </pc:spChg>
        <pc:spChg chg="add del mod ord">
          <ac:chgData name="Thomas Stensitzki" userId="75cafe6b-2f2a-469b-85c4-eec3b9c972ba" providerId="ADAL" clId="{57F7190E-C6DB-493D-9B38-21425F3349D1}" dt="2021-06-12T09:05:37.160" v="210" actId="478"/>
          <ac:spMkLst>
            <pc:docMk/>
            <pc:sldMk cId="1871499924" sldId="268"/>
            <ac:spMk id="6" creationId="{EDE26FFA-A199-4B14-9FE3-67DA615D75CC}"/>
          </ac:spMkLst>
        </pc:spChg>
        <pc:spChg chg="mod">
          <ac:chgData name="Thomas Stensitzki" userId="75cafe6b-2f2a-469b-85c4-eec3b9c972ba" providerId="ADAL" clId="{57F7190E-C6DB-493D-9B38-21425F3349D1}" dt="2021-06-12T09:05:34.199" v="209" actId="1076"/>
          <ac:spMkLst>
            <pc:docMk/>
            <pc:sldMk cId="1871499924" sldId="268"/>
            <ac:spMk id="7" creationId="{CC35EB17-57E6-440F-9E7B-0EFA8AA939AE}"/>
          </ac:spMkLst>
        </pc:spChg>
        <pc:spChg chg="mod">
          <ac:chgData name="Thomas Stensitzki" userId="75cafe6b-2f2a-469b-85c4-eec3b9c972ba" providerId="ADAL" clId="{57F7190E-C6DB-493D-9B38-21425F3349D1}" dt="2021-06-12T09:05:34.199" v="209" actId="1076"/>
          <ac:spMkLst>
            <pc:docMk/>
            <pc:sldMk cId="1871499924" sldId="268"/>
            <ac:spMk id="20" creationId="{A5A71166-F0A2-47D5-9D5C-2BD37EB858DD}"/>
          </ac:spMkLst>
        </pc:spChg>
        <pc:grpChg chg="mod">
          <ac:chgData name="Thomas Stensitzki" userId="75cafe6b-2f2a-469b-85c4-eec3b9c972ba" providerId="ADAL" clId="{57F7190E-C6DB-493D-9B38-21425F3349D1}" dt="2021-06-12T09:05:34.199" v="209" actId="1076"/>
          <ac:grpSpMkLst>
            <pc:docMk/>
            <pc:sldMk cId="1871499924" sldId="268"/>
            <ac:grpSpMk id="8" creationId="{5F17B62D-E208-48D9-9B13-EA06A8338E56}"/>
          </ac:grpSpMkLst>
        </pc:grpChg>
        <pc:grpChg chg="mod">
          <ac:chgData name="Thomas Stensitzki" userId="75cafe6b-2f2a-469b-85c4-eec3b9c972ba" providerId="ADAL" clId="{57F7190E-C6DB-493D-9B38-21425F3349D1}" dt="2021-06-12T09:05:34.199" v="209" actId="1076"/>
          <ac:grpSpMkLst>
            <pc:docMk/>
            <pc:sldMk cId="1871499924" sldId="268"/>
            <ac:grpSpMk id="13" creationId="{BF1E1751-35AE-493F-96E6-45C132745E35}"/>
          </ac:grpSpMkLst>
        </pc:grpChg>
      </pc:sldChg>
      <pc:sldChg chg="addSp delSp modSp del mod modClrScheme chgLayout">
        <pc:chgData name="Thomas Stensitzki" userId="75cafe6b-2f2a-469b-85c4-eec3b9c972ba" providerId="ADAL" clId="{57F7190E-C6DB-493D-9B38-21425F3349D1}" dt="2021-06-12T09:07:15.535" v="218" actId="47"/>
        <pc:sldMkLst>
          <pc:docMk/>
          <pc:sldMk cId="146479706" sldId="280"/>
        </pc:sldMkLst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2" creationId="{044EB3DF-EF9C-4D5B-8EDB-D49CE822CCEF}"/>
          </ac:spMkLst>
        </pc:spChg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3" creationId="{2F75AC45-55FA-4B63-91AC-4805B2548215}"/>
          </ac:spMkLst>
        </pc:spChg>
        <pc:spChg chg="del 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4" creationId="{33191283-40DF-4FA2-A378-E0174B646977}"/>
          </ac:spMkLst>
        </pc:spChg>
        <pc:spChg chg="add 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5" creationId="{A957F4FF-CE15-4162-9B80-1C943B041AD1}"/>
          </ac:spMkLst>
        </pc:spChg>
      </pc:sldChg>
      <pc:sldChg chg="delSp modSp mod modClrScheme chgLayout">
        <pc:chgData name="Thomas Stensitzki" userId="75cafe6b-2f2a-469b-85c4-eec3b9c972ba" providerId="ADAL" clId="{57F7190E-C6DB-493D-9B38-21425F3349D1}" dt="2021-06-12T09:12:04.157" v="367" actId="20577"/>
        <pc:sldMkLst>
          <pc:docMk/>
          <pc:sldMk cId="1180275278" sldId="281"/>
        </pc:sldMkLst>
        <pc:spChg chg="mod ord">
          <ac:chgData name="Thomas Stensitzki" userId="75cafe6b-2f2a-469b-85c4-eec3b9c972ba" providerId="ADAL" clId="{57F7190E-C6DB-493D-9B38-21425F3349D1}" dt="2021-06-12T09:06:35.993" v="216" actId="700"/>
          <ac:spMkLst>
            <pc:docMk/>
            <pc:sldMk cId="1180275278" sldId="281"/>
            <ac:spMk id="2" creationId="{044EB3DF-EF9C-4D5B-8EDB-D49CE822CCEF}"/>
          </ac:spMkLst>
        </pc:spChg>
        <pc:spChg chg="mod ord">
          <ac:chgData name="Thomas Stensitzki" userId="75cafe6b-2f2a-469b-85c4-eec3b9c972ba" providerId="ADAL" clId="{57F7190E-C6DB-493D-9B38-21425F3349D1}" dt="2021-06-12T09:12:04.157" v="367" actId="20577"/>
          <ac:spMkLst>
            <pc:docMk/>
            <pc:sldMk cId="1180275278" sldId="281"/>
            <ac:spMk id="3" creationId="{2F75AC45-55FA-4B63-91AC-4805B2548215}"/>
          </ac:spMkLst>
        </pc:spChg>
        <pc:spChg chg="del">
          <ac:chgData name="Thomas Stensitzki" userId="75cafe6b-2f2a-469b-85c4-eec3b9c972ba" providerId="ADAL" clId="{57F7190E-C6DB-493D-9B38-21425F3349D1}" dt="2021-06-12T09:06:35.993" v="216" actId="700"/>
          <ac:spMkLst>
            <pc:docMk/>
            <pc:sldMk cId="1180275278" sldId="281"/>
            <ac:spMk id="4" creationId="{33191283-40DF-4FA2-A378-E0174B646977}"/>
          </ac:spMkLst>
        </pc:spChg>
      </pc:sldChg>
      <pc:sldChg chg="new del">
        <pc:chgData name="Thomas Stensitzki" userId="75cafe6b-2f2a-469b-85c4-eec3b9c972ba" providerId="ADAL" clId="{57F7190E-C6DB-493D-9B38-21425F3349D1}" dt="2021-06-12T08:44:58.574" v="90" actId="680"/>
        <pc:sldMkLst>
          <pc:docMk/>
          <pc:sldMk cId="1229753997" sldId="281"/>
        </pc:sldMkLst>
      </pc:sldChg>
      <pc:sldChg chg="addSp delSp modSp new mod modClrScheme chgLayout">
        <pc:chgData name="Thomas Stensitzki" userId="75cafe6b-2f2a-469b-85c4-eec3b9c972ba" providerId="ADAL" clId="{57F7190E-C6DB-493D-9B38-21425F3349D1}" dt="2021-06-12T09:08:37.281" v="229" actId="700"/>
        <pc:sldMkLst>
          <pc:docMk/>
          <pc:sldMk cId="2454068511" sldId="282"/>
        </pc:sldMkLst>
        <pc:spChg chg="del">
          <ac:chgData name="Thomas Stensitzki" userId="75cafe6b-2f2a-469b-85c4-eec3b9c972ba" providerId="ADAL" clId="{57F7190E-C6DB-493D-9B38-21425F3349D1}" dt="2021-06-12T09:07:45.797" v="224" actId="700"/>
          <ac:spMkLst>
            <pc:docMk/>
            <pc:sldMk cId="2454068511" sldId="282"/>
            <ac:spMk id="2" creationId="{078924CD-7437-4469-994F-B2965F20C9AC}"/>
          </ac:spMkLst>
        </pc:spChg>
        <pc:spChg chg="del mod ord">
          <ac:chgData name="Thomas Stensitzki" userId="75cafe6b-2f2a-469b-85c4-eec3b9c972ba" providerId="ADAL" clId="{57F7190E-C6DB-493D-9B38-21425F3349D1}" dt="2021-06-12T09:07:45.797" v="224" actId="700"/>
          <ac:spMkLst>
            <pc:docMk/>
            <pc:sldMk cId="2454068511" sldId="282"/>
            <ac:spMk id="3" creationId="{81C60934-06DF-4B68-B613-E8B6DD8A7BAD}"/>
          </ac:spMkLst>
        </pc:spChg>
        <pc:spChg chg="add del mod ord">
          <ac:chgData name="Thomas Stensitzki" userId="75cafe6b-2f2a-469b-85c4-eec3b9c972ba" providerId="ADAL" clId="{57F7190E-C6DB-493D-9B38-21425F3349D1}" dt="2021-06-12T09:08:37.281" v="229" actId="700"/>
          <ac:spMkLst>
            <pc:docMk/>
            <pc:sldMk cId="2454068511" sldId="282"/>
            <ac:spMk id="4" creationId="{84118DA0-322B-4B0E-972C-C0D052BE6ECD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09:56.162" v="289" actId="790"/>
        <pc:sldMkLst>
          <pc:docMk/>
          <pc:sldMk cId="210114350" sldId="283"/>
        </pc:sldMkLst>
        <pc:spChg chg="del">
          <ac:chgData name="Thomas Stensitzki" userId="75cafe6b-2f2a-469b-85c4-eec3b9c972ba" providerId="ADAL" clId="{57F7190E-C6DB-493D-9B38-21425F3349D1}" dt="2021-06-12T09:08:48.924" v="231" actId="700"/>
          <ac:spMkLst>
            <pc:docMk/>
            <pc:sldMk cId="210114350" sldId="283"/>
            <ac:spMk id="2" creationId="{2E547AB5-0841-4DCE-8FB8-D991DFD12513}"/>
          </ac:spMkLst>
        </pc:spChg>
        <pc:spChg chg="del mod ord">
          <ac:chgData name="Thomas Stensitzki" userId="75cafe6b-2f2a-469b-85c4-eec3b9c972ba" providerId="ADAL" clId="{57F7190E-C6DB-493D-9B38-21425F3349D1}" dt="2021-06-12T09:08:48.924" v="231" actId="700"/>
          <ac:spMkLst>
            <pc:docMk/>
            <pc:sldMk cId="210114350" sldId="283"/>
            <ac:spMk id="3" creationId="{6867F744-7C9D-4F50-9410-FA932F376284}"/>
          </ac:spMkLst>
        </pc:spChg>
        <pc:spChg chg="add mod ord">
          <ac:chgData name="Thomas Stensitzki" userId="75cafe6b-2f2a-469b-85c4-eec3b9c972ba" providerId="ADAL" clId="{57F7190E-C6DB-493D-9B38-21425F3349D1}" dt="2021-06-12T09:09:56.162" v="289" actId="790"/>
          <ac:spMkLst>
            <pc:docMk/>
            <pc:sldMk cId="210114350" sldId="283"/>
            <ac:spMk id="4" creationId="{BAFF580A-307F-4C65-95AD-46CF834A548F}"/>
          </ac:spMkLst>
        </pc:spChg>
        <pc:graphicFrameChg chg="add mod">
          <ac:chgData name="Thomas Stensitzki" userId="75cafe6b-2f2a-469b-85c4-eec3b9c972ba" providerId="ADAL" clId="{57F7190E-C6DB-493D-9B38-21425F3349D1}" dt="2021-06-12T09:09:35.548" v="253" actId="1076"/>
          <ac:graphicFrameMkLst>
            <pc:docMk/>
            <pc:sldMk cId="210114350" sldId="283"/>
            <ac:graphicFrameMk id="5" creationId="{AEC5EF8C-8C74-4403-A005-562E42F908EC}"/>
          </ac:graphicFrameMkLst>
        </pc:graphicFrameChg>
      </pc:sldChg>
      <pc:sldChg chg="addSp modSp new mod modAnim modShow">
        <pc:chgData name="Thomas Stensitzki" userId="75cafe6b-2f2a-469b-85c4-eec3b9c972ba" providerId="ADAL" clId="{57F7190E-C6DB-493D-9B38-21425F3349D1}" dt="2021-06-12T09:19:35.562" v="459" actId="729"/>
        <pc:sldMkLst>
          <pc:docMk/>
          <pc:sldMk cId="2198005784" sldId="284"/>
        </pc:sldMkLst>
        <pc:spChg chg="mod ord">
          <ac:chgData name="Thomas Stensitzki" userId="75cafe6b-2f2a-469b-85c4-eec3b9c972ba" providerId="ADAL" clId="{57F7190E-C6DB-493D-9B38-21425F3349D1}" dt="2021-06-12T09:13:35.973" v="373" actId="166"/>
          <ac:spMkLst>
            <pc:docMk/>
            <pc:sldMk cId="2198005784" sldId="284"/>
            <ac:spMk id="2" creationId="{C59A250C-7DA7-4EE0-8592-1E94D673779D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" creationId="{ECCAAE3B-9F90-43B3-8EB4-FD9D56703CA0}"/>
          </ac:spMkLst>
        </pc:spChg>
        <pc:spChg chg="add mod">
          <ac:chgData name="Thomas Stensitzki" userId="75cafe6b-2f2a-469b-85c4-eec3b9c972ba" providerId="ADAL" clId="{57F7190E-C6DB-493D-9B38-21425F3349D1}" dt="2021-06-12T09:15:12.598" v="374" actId="12"/>
          <ac:spMkLst>
            <pc:docMk/>
            <pc:sldMk cId="2198005784" sldId="284"/>
            <ac:spMk id="4" creationId="{6411B533-F2B7-4068-821E-FFEA9877E734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9" creationId="{980254C9-8C6E-4F30-B45B-6A812281602C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0" creationId="{732FA642-AB8E-4AD5-AE59-CD398ACE4EBD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2" creationId="{A666A82B-4E5F-4B39-BBCC-4AD8BB493E70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5" creationId="{3BCE34C9-CD03-43A4-85BC-967EAFB64D2A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8" creationId="{942D3FE0-FFCA-4A5E-8422-89E1023F4925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20" creationId="{0A87B738-4510-47F3-8ACA-99530BB9A1F7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25" creationId="{F5E9959F-2803-4208-AD1C-26778C179053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0" creationId="{08F12D83-D025-4291-9206-89004231F92F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1" creationId="{43E1C40F-D206-4430-8407-EEDD5D138502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2" creationId="{EC0347EF-0DCB-4A6B-953F-E8500F7BBF17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3" creationId="{631181C0-2A80-40B3-9B56-42542D491EA9}"/>
          </ac:spMkLst>
        </pc:spChg>
        <pc:grpChg chg="add 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5" creationId="{13B31837-3BA2-4673-8FCA-12069CF89A52}"/>
          </ac:grpSpMkLst>
        </pc:grpChg>
        <pc:grpChg chg="add 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14" creationId="{0F5E3C90-E9EC-464B-B50E-11514568EC76}"/>
          </ac:grpSpMkLst>
        </pc:grpChg>
        <pc:grpChg chg="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17" creationId="{875E109E-C71C-41F1-9F39-45D85D8FA13C}"/>
          </ac:grpSpMkLst>
        </pc:grp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6" creationId="{AC98CB09-1004-4859-8EDF-53674F145C7F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7" creationId="{1AC36CC2-EE1C-4753-9C03-1C12D4006167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8" creationId="{C0D2FFDB-3631-4209-90AF-17B367BC86BB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1" creationId="{6AABEFE6-093A-4C28-90AC-0FEC9B0636E0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3" creationId="{98F635F9-55C8-4571-86C9-6E45156B1BC5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6" creationId="{FD949C1D-85B8-4CF0-A733-020891DE9EC6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9" creationId="{C7D167BD-3365-44BB-AADC-A2D2347DA2AF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22" creationId="{96AF1520-87D8-4E02-93FB-879AD296EDA1}"/>
          </ac:picMkLst>
        </pc:pic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1" creationId="{5797FB79-7A4F-44DB-A11B-7740CD5FE580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3" creationId="{10A1480D-C8FF-44B0-A94B-3A82A0167008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4" creationId="{F0607396-27C8-4405-9C03-71B114F6C2F9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6" creationId="{5266D1C1-FFA4-496E-AF42-53A4084EDE47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7" creationId="{82DC4512-972D-48D9-A2D3-548C80AA3F46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8" creationId="{45870B8E-7C52-46DA-8121-6125EE6E4D9F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9" creationId="{BF90B1C2-8F81-45AE-B9EB-2F2ADD435EE4}"/>
          </ac:cxnSpMkLst>
        </pc:cxnChg>
      </pc:sldChg>
      <pc:sldChg chg="modSp add mod ord modAnim modShow">
        <pc:chgData name="Thomas Stensitzki" userId="75cafe6b-2f2a-469b-85c4-eec3b9c972ba" providerId="ADAL" clId="{57F7190E-C6DB-493D-9B38-21425F3349D1}" dt="2021-06-12T09:19:30.696" v="458" actId="729"/>
        <pc:sldMkLst>
          <pc:docMk/>
          <pc:sldMk cId="40340443" sldId="285"/>
        </pc:sldMkLst>
        <pc:spChg chg="mod">
          <ac:chgData name="Thomas Stensitzki" userId="75cafe6b-2f2a-469b-85c4-eec3b9c972ba" providerId="ADAL" clId="{57F7190E-C6DB-493D-9B38-21425F3349D1}" dt="2021-06-12T09:17:26.836" v="406" actId="20577"/>
          <ac:spMkLst>
            <pc:docMk/>
            <pc:sldMk cId="40340443" sldId="285"/>
            <ac:spMk id="4" creationId="{6411B533-F2B7-4068-821E-FFEA9877E734}"/>
          </ac:spMkLst>
        </pc:spChg>
        <pc:spChg chg="mod">
          <ac:chgData name="Thomas Stensitzki" userId="75cafe6b-2f2a-469b-85c4-eec3b9c972ba" providerId="ADAL" clId="{57F7190E-C6DB-493D-9B38-21425F3349D1}" dt="2021-06-12T09:16:56.922" v="381" actId="790"/>
          <ac:spMkLst>
            <pc:docMk/>
            <pc:sldMk cId="40340443" sldId="285"/>
            <ac:spMk id="9" creationId="{980254C9-8C6E-4F30-B45B-6A812281602C}"/>
          </ac:spMkLst>
        </pc:spChg>
      </pc:sldChg>
      <pc:sldChg chg="addSp delSp modSp del mod modClrScheme chgLayout">
        <pc:chgData name="Thomas Stensitzki" userId="75cafe6b-2f2a-469b-85c4-eec3b9c972ba" providerId="ADAL" clId="{57F7190E-C6DB-493D-9B38-21425F3349D1}" dt="2021-06-12T09:12:35.579" v="370"/>
        <pc:sldMkLst>
          <pc:docMk/>
          <pc:sldMk cId="2432739685" sldId="285"/>
        </pc:sldMkLst>
        <pc:spChg chg="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2" creationId="{3F28B467-57C1-4C47-9413-554E70201C4C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3" creationId="{1901EB48-1989-45DD-8BFC-9EF7D0B5B9D1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5" creationId="{BDCFE792-3984-4432-91F6-B9BE5B86D363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37" creationId="{D55F930A-002D-45D1-85B9-D75733324DC4}"/>
          </ac:spMkLst>
        </pc:spChg>
      </pc:sldChg>
      <pc:sldChg chg="addSp modSp new mod modAnim">
        <pc:chgData name="Thomas Stensitzki" userId="75cafe6b-2f2a-469b-85c4-eec3b9c972ba" providerId="ADAL" clId="{57F7190E-C6DB-493D-9B38-21425F3349D1}" dt="2021-06-12T09:23:27.298" v="507" actId="14861"/>
        <pc:sldMkLst>
          <pc:docMk/>
          <pc:sldMk cId="103361362" sldId="286"/>
        </pc:sldMkLst>
        <pc:spChg chg="mod ord">
          <ac:chgData name="Thomas Stensitzki" userId="75cafe6b-2f2a-469b-85c4-eec3b9c972ba" providerId="ADAL" clId="{57F7190E-C6DB-493D-9B38-21425F3349D1}" dt="2021-06-12T09:18:31.739" v="410" actId="166"/>
          <ac:spMkLst>
            <pc:docMk/>
            <pc:sldMk cId="103361362" sldId="286"/>
            <ac:spMk id="2" creationId="{C14E4D37-3C5E-454D-A4F8-5350E278A2CB}"/>
          </ac:spMkLst>
        </pc:spChg>
        <pc:spChg chg="add mod">
          <ac:chgData name="Thomas Stensitzki" userId="75cafe6b-2f2a-469b-85c4-eec3b9c972ba" providerId="ADAL" clId="{57F7190E-C6DB-493D-9B38-21425F3349D1}" dt="2021-06-12T09:23:27.298" v="507" actId="14861"/>
          <ac:spMkLst>
            <pc:docMk/>
            <pc:sldMk cId="103361362" sldId="286"/>
            <ac:spMk id="3" creationId="{B9489FF8-E017-4EAC-B44F-4BE45DD475E4}"/>
          </ac:spMkLst>
        </pc:spChg>
        <pc:spChg chg="add mod">
          <ac:chgData name="Thomas Stensitzki" userId="75cafe6b-2f2a-469b-85c4-eec3b9c972ba" providerId="ADAL" clId="{57F7190E-C6DB-493D-9B38-21425F3349D1}" dt="2021-06-12T09:21:31.015" v="502" actId="20577"/>
          <ac:spMkLst>
            <pc:docMk/>
            <pc:sldMk cId="103361362" sldId="286"/>
            <ac:spMk id="4" creationId="{A7C629F9-E74C-43A6-B633-1B31E388FF66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5" creationId="{23727BDD-B815-4CCB-A67D-D5E3E179361C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7" creationId="{1BA056B9-ECBD-4814-8340-11B486833A2E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9" creationId="{A9955714-674A-4EAD-922B-6EAE3B66EE9F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2" creationId="{9F98B31D-5090-4440-ADBF-757F0D749D6F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4" creationId="{FAA9F30C-5D50-4AC5-BBDA-CDA0393CF79D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8" creationId="{6C648AC3-4CA4-4DA8-859E-2616CA1D4244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27" creationId="{1D87789B-41CC-49BC-A560-BF2321357909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0" creationId="{234FA3B8-0026-4ED2-8521-B70C95D549BC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1" creationId="{935D2D08-E107-4B71-9736-87B62BB164D1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3" creationId="{FCDAB219-3A87-41D0-9E9B-B3B8A3E92364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4" creationId="{C46014C2-AA97-456C-9EAF-9166AA9A5D70}"/>
          </ac:spMkLst>
        </pc:spChg>
        <pc:grpChg chg="add 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8" creationId="{298F36EC-C7F6-44D8-8751-1A5A92FC5CFB}"/>
          </ac:grpSpMkLst>
        </pc:grpChg>
        <pc:grpChg chg="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11" creationId="{8253E414-E73D-4165-853C-4E569B5FDF79}"/>
          </ac:grpSpMkLst>
        </pc:grpChg>
        <pc:grpChg chg="add 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23" creationId="{E5EE73F5-3E7E-4FBC-915E-9D6E7DA448B2}"/>
          </ac:grpSpMkLst>
        </pc:grp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6" creationId="{6499B0EC-A8E5-459A-8894-F9AD7F8556D5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0" creationId="{7D503F87-B80E-4E3C-A2BE-CF855F73A26A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3" creationId="{5DCFC13F-58A0-4987-978C-1473E9A1D245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6" creationId="{92934D11-D07F-4C73-A560-E806EB0F15BF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2" creationId="{FCE88413-3568-48B2-B510-729541E63276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4" creationId="{333C8FCA-7D97-4C25-9FC9-A2614DDC2841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5" creationId="{912DF0DC-27B2-4EBC-B93B-90D34EEF722C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6" creationId="{7EB81461-2B6E-4CFC-B3E9-3DD6420BAABE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8" creationId="{42D01C37-03FE-4C1B-A629-58A2E6EDCBEB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9" creationId="{84F20A80-0C53-4723-AD6F-F6A746BE14A9}"/>
          </ac:picMkLst>
        </pc:pic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5" creationId="{E6C2A10F-212E-4681-83BA-04200743F594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7" creationId="{F3E942E6-692B-453B-AD6D-113FF07A9E1E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9" creationId="{EE0FFE8F-48D4-4699-A63C-CDDE2ADAC34A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20" creationId="{999CE583-6974-4F1A-8132-704C3402E7A3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21" creationId="{6B7F4844-40BF-4825-9775-983848ED3B16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32" creationId="{2EABDBAA-B6AE-49F0-B39D-DE6AFC84FE6D}"/>
          </ac:cxnSpMkLst>
        </pc:cxnChg>
        <pc:cxnChg chg="add mod">
          <ac:chgData name="Thomas Stensitzki" userId="75cafe6b-2f2a-469b-85c4-eec3b9c972ba" providerId="ADAL" clId="{57F7190E-C6DB-493D-9B38-21425F3349D1}" dt="2021-06-12T09:22:59.843" v="506" actId="14100"/>
          <ac:cxnSpMkLst>
            <pc:docMk/>
            <pc:sldMk cId="103361362" sldId="286"/>
            <ac:cxnSpMk id="35" creationId="{0519676B-95ED-47AB-935F-D4F81B4257BB}"/>
          </ac:cxnSpMkLst>
        </pc:cxnChg>
      </pc:sldChg>
      <pc:sldChg chg="addSp delSp modSp del mod modClrScheme chgLayout">
        <pc:chgData name="Thomas Stensitzki" userId="75cafe6b-2f2a-469b-85c4-eec3b9c972ba" providerId="ADAL" clId="{57F7190E-C6DB-493D-9B38-21425F3349D1}" dt="2021-06-12T09:12:35.579" v="370"/>
        <pc:sldMkLst>
          <pc:docMk/>
          <pc:sldMk cId="3860315260" sldId="286"/>
        </pc:sldMkLst>
        <pc:spChg chg="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2" creationId="{98AF0FFA-7599-4D09-A17D-54EEBF33657B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3" creationId="{351B1583-DD99-4B8D-B927-08BD5440CFA6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4" creationId="{8C19D643-8A28-4C0B-A90F-5C5F4271FAB4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5" creationId="{4371A220-A04E-47DB-B4CF-3041F772DDD2}"/>
          </ac:spMkLst>
        </pc:spChg>
      </pc:sldChg>
      <pc:sldChg chg="modSp add mod modShow modNotesTx">
        <pc:chgData name="Thomas Stensitzki" userId="75cafe6b-2f2a-469b-85c4-eec3b9c972ba" providerId="ADAL" clId="{57F7190E-C6DB-493D-9B38-21425F3349D1}" dt="2021-06-12T09:19:47.424" v="460" actId="12"/>
        <pc:sldMkLst>
          <pc:docMk/>
          <pc:sldMk cId="3526205174" sldId="287"/>
        </pc:sldMkLst>
        <pc:spChg chg="mod">
          <ac:chgData name="Thomas Stensitzki" userId="75cafe6b-2f2a-469b-85c4-eec3b9c972ba" providerId="ADAL" clId="{57F7190E-C6DB-493D-9B38-21425F3349D1}" dt="2021-06-12T09:19:47.424" v="460" actId="12"/>
          <ac:spMkLst>
            <pc:docMk/>
            <pc:sldMk cId="3526205174" sldId="287"/>
            <ac:spMk id="4" creationId="{A7C629F9-E74C-43A6-B633-1B31E388FF66}"/>
          </ac:spMkLst>
        </pc:spChg>
      </pc:sldChg>
      <pc:sldChg chg="addSp modSp new mod modAnim">
        <pc:chgData name="Thomas Stensitzki" userId="75cafe6b-2f2a-469b-85c4-eec3b9c972ba" providerId="ADAL" clId="{57F7190E-C6DB-493D-9B38-21425F3349D1}" dt="2021-06-12T09:25:26.393" v="545" actId="1036"/>
        <pc:sldMkLst>
          <pc:docMk/>
          <pc:sldMk cId="4203800862" sldId="288"/>
        </pc:sldMkLst>
        <pc:spChg chg="mod">
          <ac:chgData name="Thomas Stensitzki" userId="75cafe6b-2f2a-469b-85c4-eec3b9c972ba" providerId="ADAL" clId="{57F7190E-C6DB-493D-9B38-21425F3349D1}" dt="2021-06-12T09:23:45.925" v="524" actId="20577"/>
          <ac:spMkLst>
            <pc:docMk/>
            <pc:sldMk cId="4203800862" sldId="288"/>
            <ac:spMk id="2" creationId="{71BE1834-9BC6-43CF-9DDC-E1621637E6B5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4" creationId="{B89A5B08-5F73-4528-AF6C-B6D7613F03EF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5" creationId="{9846C9C4-F2B7-4B28-AE89-31AFA18F92C9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6" creationId="{B10AFD8D-2215-41B1-92FE-BA2B3215E540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7" creationId="{F64C3CD6-DB7D-475E-939D-E6D60E6D9322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9" creationId="{62946235-E3FD-405B-B90A-E6B9428F2575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0" creationId="{9B53D8DA-A593-40A0-A479-BCE1ED6E53FE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1" creationId="{CD60F65D-33CD-468E-B695-F4659DF7F54D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2" creationId="{20227986-48F8-4A83-9EC4-F22351E17D33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4" creationId="{542785A8-4CBE-41CE-AF05-8EC543BC658F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5" creationId="{C236AFB7-7CEC-43DD-B1AF-126795748FB8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6" creationId="{70EF57D6-ED24-4E76-9D10-D124D93E870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7" creationId="{C6A41F5B-8D06-47E8-9383-4879914B9549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9" creationId="{CBC5D16D-2CBB-49F2-AA5C-4E3C386516BC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0" creationId="{55322EA8-491E-47E0-9B7C-92CEFDF2404A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1" creationId="{8571DEA7-5975-40B3-95B2-5F8219FFF52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2" creationId="{80431F53-A4DC-472B-A4D7-1FAE62718194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5" creationId="{6EE7E695-CDBB-4B32-84B7-43155A13E87B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6" creationId="{2D13ACD6-5408-4214-B363-83CDEA62375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7" creationId="{2BD6FF6B-C2B2-4988-8778-369EA34FE97E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8" creationId="{C24B802F-3AAD-4792-9DB0-997F76C267EA}"/>
          </ac:spMkLst>
        </pc:spChg>
        <pc:spChg chg="add mod or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30" creationId="{F7BB3BFB-2CBD-4A74-A69E-D1A911CD6413}"/>
          </ac:spMkLst>
        </pc:s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3" creationId="{DC3339B1-14F0-4A70-BBEC-40546822AFDC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8" creationId="{FF1A4BEA-EF55-4CE5-9F77-3554FE8E4540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13" creationId="{8CD2B539-4425-4788-9FCD-E4355D860DA8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18" creationId="{129D25DC-86E4-4311-AB30-E7B458CDADCC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24" creationId="{3F55E831-0DE6-4082-9107-F337F0B4365E}"/>
          </ac:grpSpMkLst>
        </pc:grpChg>
        <pc:picChg chg="add mod">
          <ac:chgData name="Thomas Stensitzki" userId="75cafe6b-2f2a-469b-85c4-eec3b9c972ba" providerId="ADAL" clId="{57F7190E-C6DB-493D-9B38-21425F3349D1}" dt="2021-06-12T09:25:26.393" v="545" actId="1036"/>
          <ac:picMkLst>
            <pc:docMk/>
            <pc:sldMk cId="4203800862" sldId="288"/>
            <ac:picMk id="23" creationId="{0E831A14-AF15-4AB8-B90E-652FA54A60ED}"/>
          </ac:picMkLst>
        </pc:picChg>
        <pc:picChg chg="add mod">
          <ac:chgData name="Thomas Stensitzki" userId="75cafe6b-2f2a-469b-85c4-eec3b9c972ba" providerId="ADAL" clId="{57F7190E-C6DB-493D-9B38-21425F3349D1}" dt="2021-06-12T09:25:26.393" v="545" actId="1036"/>
          <ac:picMkLst>
            <pc:docMk/>
            <pc:sldMk cId="4203800862" sldId="288"/>
            <ac:picMk id="29" creationId="{E5A7DE96-BA30-4DC1-89C2-EFAFA6A905B6}"/>
          </ac:picMkLst>
        </pc:picChg>
      </pc:sldChg>
      <pc:sldChg chg="addSp modSp new mod modClrScheme modAnim chgLayout">
        <pc:chgData name="Thomas Stensitzki" userId="75cafe6b-2f2a-469b-85c4-eec3b9c972ba" providerId="ADAL" clId="{57F7190E-C6DB-493D-9B38-21425F3349D1}" dt="2021-06-12T09:38:29.881" v="573"/>
        <pc:sldMkLst>
          <pc:docMk/>
          <pc:sldMk cId="3834432234" sldId="289"/>
        </pc:sldMkLst>
        <pc:spChg chg="mod ord">
          <ac:chgData name="Thomas Stensitzki" userId="75cafe6b-2f2a-469b-85c4-eec3b9c972ba" providerId="ADAL" clId="{57F7190E-C6DB-493D-9B38-21425F3349D1}" dt="2021-06-12T09:37:20.839" v="548" actId="700"/>
          <ac:spMkLst>
            <pc:docMk/>
            <pc:sldMk cId="3834432234" sldId="289"/>
            <ac:spMk id="2" creationId="{4EC6FA52-BADC-4632-9885-46D5FEB3828B}"/>
          </ac:spMkLst>
        </pc:spChg>
        <pc:spChg chg="add mod ord">
          <ac:chgData name="Thomas Stensitzki" userId="75cafe6b-2f2a-469b-85c4-eec3b9c972ba" providerId="ADAL" clId="{57F7190E-C6DB-493D-9B38-21425F3349D1}" dt="2021-06-12T09:38:02.704" v="571" actId="20577"/>
          <ac:spMkLst>
            <pc:docMk/>
            <pc:sldMk cId="3834432234" sldId="289"/>
            <ac:spMk id="3" creationId="{AA00B227-FB36-4ADE-97D9-23FDA6DE154F}"/>
          </ac:spMkLst>
        </pc:spChg>
      </pc:sldChg>
      <pc:sldChg chg="addSp delSp modSp new mod modClrScheme chgLayout">
        <pc:chgData name="Thomas Stensitzki" userId="75cafe6b-2f2a-469b-85c4-eec3b9c972ba" providerId="ADAL" clId="{57F7190E-C6DB-493D-9B38-21425F3349D1}" dt="2021-06-12T09:40:21.461" v="637" actId="790"/>
        <pc:sldMkLst>
          <pc:docMk/>
          <pc:sldMk cId="3249897608" sldId="290"/>
        </pc:sldMkLst>
        <pc:spChg chg="del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2" creationId="{72D09BF9-213A-485E-8535-7D1F9E0BD42A}"/>
          </ac:spMkLst>
        </pc:spChg>
        <pc:spChg chg="del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3" creationId="{00234C4D-ED7E-47B3-9856-E7AFEAADC8B6}"/>
          </ac:spMkLst>
        </pc:spChg>
        <pc:spChg chg="add mod ord">
          <ac:chgData name="Thomas Stensitzki" userId="75cafe6b-2f2a-469b-85c4-eec3b9c972ba" providerId="ADAL" clId="{57F7190E-C6DB-493D-9B38-21425F3349D1}" dt="2021-06-12T09:40:21.461" v="637" actId="790"/>
          <ac:spMkLst>
            <pc:docMk/>
            <pc:sldMk cId="3249897608" sldId="290"/>
            <ac:spMk id="4" creationId="{FFA183F5-FB95-4708-8F84-4AF04DE93CAD}"/>
          </ac:spMkLst>
        </pc:spChg>
        <pc:spChg chg="add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5" creationId="{ED142866-574D-4BB3-A6FF-B4EA00F9FAF3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44:05.374" v="687" actId="20577"/>
        <pc:sldMkLst>
          <pc:docMk/>
          <pc:sldMk cId="511165670" sldId="291"/>
        </pc:sldMkLst>
        <pc:spChg chg="del mod ord">
          <ac:chgData name="Thomas Stensitzki" userId="75cafe6b-2f2a-469b-85c4-eec3b9c972ba" providerId="ADAL" clId="{57F7190E-C6DB-493D-9B38-21425F3349D1}" dt="2021-06-12T09:40:46.260" v="639" actId="700"/>
          <ac:spMkLst>
            <pc:docMk/>
            <pc:sldMk cId="511165670" sldId="291"/>
            <ac:spMk id="2" creationId="{51FF0C15-2682-4413-A2CE-50883584277B}"/>
          </ac:spMkLst>
        </pc:spChg>
        <pc:spChg chg="del mod ord">
          <ac:chgData name="Thomas Stensitzki" userId="75cafe6b-2f2a-469b-85c4-eec3b9c972ba" providerId="ADAL" clId="{57F7190E-C6DB-493D-9B38-21425F3349D1}" dt="2021-06-12T09:40:46.260" v="639" actId="700"/>
          <ac:spMkLst>
            <pc:docMk/>
            <pc:sldMk cId="511165670" sldId="291"/>
            <ac:spMk id="3" creationId="{B6CA3D5E-255B-48B6-AFF5-D593874FF458}"/>
          </ac:spMkLst>
        </pc:spChg>
        <pc:spChg chg="add mod ord">
          <ac:chgData name="Thomas Stensitzki" userId="75cafe6b-2f2a-469b-85c4-eec3b9c972ba" providerId="ADAL" clId="{57F7190E-C6DB-493D-9B38-21425F3349D1}" dt="2021-06-12T09:40:48.255" v="640"/>
          <ac:spMkLst>
            <pc:docMk/>
            <pc:sldMk cId="511165670" sldId="291"/>
            <ac:spMk id="4" creationId="{0F2DAAED-A868-4A12-8A3F-D3A4CFB9AA8A}"/>
          </ac:spMkLst>
        </pc:spChg>
        <pc:spChg chg="add mod ord">
          <ac:chgData name="Thomas Stensitzki" userId="75cafe6b-2f2a-469b-85c4-eec3b9c972ba" providerId="ADAL" clId="{57F7190E-C6DB-493D-9B38-21425F3349D1}" dt="2021-06-12T09:44:05.374" v="687" actId="20577"/>
          <ac:spMkLst>
            <pc:docMk/>
            <pc:sldMk cId="511165670" sldId="291"/>
            <ac:spMk id="5" creationId="{00CC5B1D-D339-4E8A-A0E3-4A185381B432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51:23.960" v="930" actId="14100"/>
        <pc:sldMkLst>
          <pc:docMk/>
          <pc:sldMk cId="3710827937" sldId="292"/>
        </pc:sldMkLst>
        <pc:spChg chg="del">
          <ac:chgData name="Thomas Stensitzki" userId="75cafe6b-2f2a-469b-85c4-eec3b9c972ba" providerId="ADAL" clId="{57F7190E-C6DB-493D-9B38-21425F3349D1}" dt="2021-06-12T09:44:28.377" v="689" actId="700"/>
          <ac:spMkLst>
            <pc:docMk/>
            <pc:sldMk cId="3710827937" sldId="292"/>
            <ac:spMk id="2" creationId="{B569B23C-38BC-4CA1-8A7C-1C87F873CDCD}"/>
          </ac:spMkLst>
        </pc:spChg>
        <pc:spChg chg="del mod ord">
          <ac:chgData name="Thomas Stensitzki" userId="75cafe6b-2f2a-469b-85c4-eec3b9c972ba" providerId="ADAL" clId="{57F7190E-C6DB-493D-9B38-21425F3349D1}" dt="2021-06-12T09:44:28.377" v="689" actId="700"/>
          <ac:spMkLst>
            <pc:docMk/>
            <pc:sldMk cId="3710827937" sldId="292"/>
            <ac:spMk id="3" creationId="{280745D8-7DDF-4FC5-8C94-8A0715ADF631}"/>
          </ac:spMkLst>
        </pc:spChg>
        <pc:spChg chg="add mod ord">
          <ac:chgData name="Thomas Stensitzki" userId="75cafe6b-2f2a-469b-85c4-eec3b9c972ba" providerId="ADAL" clId="{57F7190E-C6DB-493D-9B38-21425F3349D1}" dt="2021-06-12T09:46:00.771" v="738" actId="20577"/>
          <ac:spMkLst>
            <pc:docMk/>
            <pc:sldMk cId="3710827937" sldId="292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46:14.318" v="741" actId="6549"/>
          <ac:spMkLst>
            <pc:docMk/>
            <pc:sldMk cId="3710827937" sldId="292"/>
            <ac:spMk id="5" creationId="{EB79AF85-48DE-4186-B0DA-84A530ACB317}"/>
          </ac:spMkLst>
        </pc:spChg>
        <pc:spChg chg="add mod">
          <ac:chgData name="Thomas Stensitzki" userId="75cafe6b-2f2a-469b-85c4-eec3b9c972ba" providerId="ADAL" clId="{57F7190E-C6DB-493D-9B38-21425F3349D1}" dt="2021-06-12T09:45:48.926" v="699" actId="1076"/>
          <ac:spMkLst>
            <pc:docMk/>
            <pc:sldMk cId="3710827937" sldId="292"/>
            <ac:spMk id="7" creationId="{6D28C8D5-FD51-40E5-9D33-A898B5139346}"/>
          </ac:spMkLst>
        </pc:spChg>
        <pc:spChg chg="add mod">
          <ac:chgData name="Thomas Stensitzki" userId="75cafe6b-2f2a-469b-85c4-eec3b9c972ba" providerId="ADAL" clId="{57F7190E-C6DB-493D-9B38-21425F3349D1}" dt="2021-06-12T09:51:23.960" v="930" actId="14100"/>
          <ac:spMkLst>
            <pc:docMk/>
            <pc:sldMk cId="3710827937" sldId="292"/>
            <ac:spMk id="8" creationId="{1E92025D-54F5-4671-B252-2F2F4956CB0E}"/>
          </ac:spMkLst>
        </pc:spChg>
        <pc:picChg chg="add mod">
          <ac:chgData name="Thomas Stensitzki" userId="75cafe6b-2f2a-469b-85c4-eec3b9c972ba" providerId="ADAL" clId="{57F7190E-C6DB-493D-9B38-21425F3349D1}" dt="2021-06-12T09:45:45.635" v="698" actId="1076"/>
          <ac:picMkLst>
            <pc:docMk/>
            <pc:sldMk cId="3710827937" sldId="292"/>
            <ac:picMk id="6" creationId="{C7D8144B-DF56-4C16-8228-4612B23092DE}"/>
          </ac:picMkLst>
        </pc:picChg>
      </pc:sldChg>
      <pc:sldChg chg="addSp delSp modSp add mod delAnim modAnim">
        <pc:chgData name="Thomas Stensitzki" userId="75cafe6b-2f2a-469b-85c4-eec3b9c972ba" providerId="ADAL" clId="{57F7190E-C6DB-493D-9B38-21425F3349D1}" dt="2021-06-12T09:49:18.767" v="877" actId="20577"/>
        <pc:sldMkLst>
          <pc:docMk/>
          <pc:sldMk cId="3351328909" sldId="293"/>
        </pc:sldMkLst>
        <pc:spChg chg="mod">
          <ac:chgData name="Thomas Stensitzki" userId="75cafe6b-2f2a-469b-85c4-eec3b9c972ba" providerId="ADAL" clId="{57F7190E-C6DB-493D-9B38-21425F3349D1}" dt="2021-06-12T09:48:33.947" v="805" actId="20577"/>
          <ac:spMkLst>
            <pc:docMk/>
            <pc:sldMk cId="3351328909" sldId="293"/>
            <ac:spMk id="4" creationId="{1BC57DCF-4392-4A1A-8DF9-2510783C7F8D}"/>
          </ac:spMkLst>
        </pc:spChg>
        <pc:spChg chg="del">
          <ac:chgData name="Thomas Stensitzki" userId="75cafe6b-2f2a-469b-85c4-eec3b9c972ba" providerId="ADAL" clId="{57F7190E-C6DB-493D-9B38-21425F3349D1}" dt="2021-06-12T09:47:08.042" v="743" actId="478"/>
          <ac:spMkLst>
            <pc:docMk/>
            <pc:sldMk cId="3351328909" sldId="293"/>
            <ac:spMk id="5" creationId="{EB79AF85-48DE-4186-B0DA-84A530ACB317}"/>
          </ac:spMkLst>
        </pc:spChg>
        <pc:spChg chg="del">
          <ac:chgData name="Thomas Stensitzki" userId="75cafe6b-2f2a-469b-85c4-eec3b9c972ba" providerId="ADAL" clId="{57F7190E-C6DB-493D-9B38-21425F3349D1}" dt="2021-06-12T09:47:08.042" v="743" actId="478"/>
          <ac:spMkLst>
            <pc:docMk/>
            <pc:sldMk cId="3351328909" sldId="293"/>
            <ac:spMk id="7" creationId="{6D28C8D5-FD51-40E5-9D33-A898B5139346}"/>
          </ac:spMkLst>
        </pc:spChg>
        <pc:spChg chg="add mod">
          <ac:chgData name="Thomas Stensitzki" userId="75cafe6b-2f2a-469b-85c4-eec3b9c972ba" providerId="ADAL" clId="{57F7190E-C6DB-493D-9B38-21425F3349D1}" dt="2021-06-12T09:49:18.767" v="877" actId="20577"/>
          <ac:spMkLst>
            <pc:docMk/>
            <pc:sldMk cId="3351328909" sldId="293"/>
            <ac:spMk id="8" creationId="{92B5F610-32C1-4462-BDFF-C9879B76EF8A}"/>
          </ac:spMkLst>
        </pc:spChg>
        <pc:spChg chg="add mod">
          <ac:chgData name="Thomas Stensitzki" userId="75cafe6b-2f2a-469b-85c4-eec3b9c972ba" providerId="ADAL" clId="{57F7190E-C6DB-493D-9B38-21425F3349D1}" dt="2021-06-12T09:47:32.345" v="746" actId="1076"/>
          <ac:spMkLst>
            <pc:docMk/>
            <pc:sldMk cId="3351328909" sldId="293"/>
            <ac:spMk id="10" creationId="{DF41859A-B298-4903-AA3B-853F8D5A61B9}"/>
          </ac:spMkLst>
        </pc:spChg>
        <pc:picChg chg="del">
          <ac:chgData name="Thomas Stensitzki" userId="75cafe6b-2f2a-469b-85c4-eec3b9c972ba" providerId="ADAL" clId="{57F7190E-C6DB-493D-9B38-21425F3349D1}" dt="2021-06-12T09:47:08.042" v="743" actId="478"/>
          <ac:picMkLst>
            <pc:docMk/>
            <pc:sldMk cId="3351328909" sldId="293"/>
            <ac:picMk id="6" creationId="{C7D8144B-DF56-4C16-8228-4612B23092DE}"/>
          </ac:picMkLst>
        </pc:picChg>
        <pc:picChg chg="add mod">
          <ac:chgData name="Thomas Stensitzki" userId="75cafe6b-2f2a-469b-85c4-eec3b9c972ba" providerId="ADAL" clId="{57F7190E-C6DB-493D-9B38-21425F3349D1}" dt="2021-06-12T09:47:27.889" v="745" actId="1076"/>
          <ac:picMkLst>
            <pc:docMk/>
            <pc:sldMk cId="3351328909" sldId="293"/>
            <ac:picMk id="9" creationId="{C43F4640-E6B8-424C-85F0-88C7FAAB8615}"/>
          </ac:picMkLst>
        </pc:picChg>
      </pc:sldChg>
      <pc:sldChg chg="addSp delSp modSp add mod delAnim modAnim">
        <pc:chgData name="Thomas Stensitzki" userId="75cafe6b-2f2a-469b-85c4-eec3b9c972ba" providerId="ADAL" clId="{57F7190E-C6DB-493D-9B38-21425F3349D1}" dt="2021-06-12T09:50:31.032" v="910" actId="113"/>
        <pc:sldMkLst>
          <pc:docMk/>
          <pc:sldMk cId="1276571334" sldId="294"/>
        </pc:sldMkLst>
        <pc:spChg chg="mod">
          <ac:chgData name="Thomas Stensitzki" userId="75cafe6b-2f2a-469b-85c4-eec3b9c972ba" providerId="ADAL" clId="{57F7190E-C6DB-493D-9B38-21425F3349D1}" dt="2021-06-12T09:49:40.817" v="900" actId="20577"/>
          <ac:spMkLst>
            <pc:docMk/>
            <pc:sldMk cId="1276571334" sldId="294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0:31.032" v="910" actId="113"/>
          <ac:spMkLst>
            <pc:docMk/>
            <pc:sldMk cId="1276571334" sldId="294"/>
            <ac:spMk id="6" creationId="{082BDBAD-79C6-4C8D-B82A-499ABF68ED8C}"/>
          </ac:spMkLst>
        </pc:spChg>
        <pc:spChg chg="del">
          <ac:chgData name="Thomas Stensitzki" userId="75cafe6b-2f2a-469b-85c4-eec3b9c972ba" providerId="ADAL" clId="{57F7190E-C6DB-493D-9B38-21425F3349D1}" dt="2021-06-12T09:47:58.818" v="750" actId="478"/>
          <ac:spMkLst>
            <pc:docMk/>
            <pc:sldMk cId="1276571334" sldId="294"/>
            <ac:spMk id="8" creationId="{92B5F610-32C1-4462-BDFF-C9879B76EF8A}"/>
          </ac:spMkLst>
        </pc:spChg>
        <pc:spChg chg="del">
          <ac:chgData name="Thomas Stensitzki" userId="75cafe6b-2f2a-469b-85c4-eec3b9c972ba" providerId="ADAL" clId="{57F7190E-C6DB-493D-9B38-21425F3349D1}" dt="2021-06-12T09:47:58.818" v="750" actId="478"/>
          <ac:spMkLst>
            <pc:docMk/>
            <pc:sldMk cId="1276571334" sldId="294"/>
            <ac:spMk id="10" creationId="{DF41859A-B298-4903-AA3B-853F8D5A61B9}"/>
          </ac:spMkLst>
        </pc:spChg>
        <pc:spChg chg="add mod">
          <ac:chgData name="Thomas Stensitzki" userId="75cafe6b-2f2a-469b-85c4-eec3b9c972ba" providerId="ADAL" clId="{57F7190E-C6DB-493D-9B38-21425F3349D1}" dt="2021-06-12T09:50:09.653" v="905" actId="1076"/>
          <ac:spMkLst>
            <pc:docMk/>
            <pc:sldMk cId="1276571334" sldId="294"/>
            <ac:spMk id="11" creationId="{E83EF6EE-874B-4F64-9890-D54C3E046BCC}"/>
          </ac:spMkLst>
        </pc:spChg>
        <pc:picChg chg="add mod">
          <ac:chgData name="Thomas Stensitzki" userId="75cafe6b-2f2a-469b-85c4-eec3b9c972ba" providerId="ADAL" clId="{57F7190E-C6DB-493D-9B38-21425F3349D1}" dt="2021-06-12T09:50:02.058" v="904" actId="1076"/>
          <ac:picMkLst>
            <pc:docMk/>
            <pc:sldMk cId="1276571334" sldId="294"/>
            <ac:picMk id="7" creationId="{BDA42AAF-47CF-4083-A37B-8E2F6DA00E2B}"/>
          </ac:picMkLst>
        </pc:picChg>
        <pc:picChg chg="del">
          <ac:chgData name="Thomas Stensitzki" userId="75cafe6b-2f2a-469b-85c4-eec3b9c972ba" providerId="ADAL" clId="{57F7190E-C6DB-493D-9B38-21425F3349D1}" dt="2021-06-12T09:47:58.818" v="750" actId="478"/>
          <ac:picMkLst>
            <pc:docMk/>
            <pc:sldMk cId="1276571334" sldId="294"/>
            <ac:picMk id="9" creationId="{C43F4640-E6B8-424C-85F0-88C7FAAB8615}"/>
          </ac:picMkLst>
        </pc:picChg>
        <pc:picChg chg="add mod">
          <ac:chgData name="Thomas Stensitzki" userId="75cafe6b-2f2a-469b-85c4-eec3b9c972ba" providerId="ADAL" clId="{57F7190E-C6DB-493D-9B38-21425F3349D1}" dt="2021-06-12T09:50:17.342" v="906" actId="1076"/>
          <ac:picMkLst>
            <pc:docMk/>
            <pc:sldMk cId="1276571334" sldId="294"/>
            <ac:picMk id="12" creationId="{9EB485C3-D219-4A99-9AE1-77631F81AD4A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09:53:18.769" v="944" actId="14100"/>
        <pc:sldMkLst>
          <pc:docMk/>
          <pc:sldMk cId="2424035884" sldId="295"/>
        </pc:sldMkLst>
        <pc:spChg chg="add mod">
          <ac:chgData name="Thomas Stensitzki" userId="75cafe6b-2f2a-469b-85c4-eec3b9c972ba" providerId="ADAL" clId="{57F7190E-C6DB-493D-9B38-21425F3349D1}" dt="2021-06-12T09:52:35.235" v="941" actId="20577"/>
          <ac:spMkLst>
            <pc:docMk/>
            <pc:sldMk cId="2424035884" sldId="295"/>
            <ac:spMk id="3" creationId="{91AF2972-ABB3-4A59-8477-4391A6E77860}"/>
          </ac:spMkLst>
        </pc:spChg>
        <pc:spChg chg="mod">
          <ac:chgData name="Thomas Stensitzki" userId="75cafe6b-2f2a-469b-85c4-eec3b9c972ba" providerId="ADAL" clId="{57F7190E-C6DB-493D-9B38-21425F3349D1}" dt="2021-06-12T09:51:00.723" v="927" actId="20577"/>
          <ac:spMkLst>
            <pc:docMk/>
            <pc:sldMk cId="2424035884" sldId="295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2:04.475" v="933" actId="1076"/>
          <ac:spMkLst>
            <pc:docMk/>
            <pc:sldMk cId="2424035884" sldId="295"/>
            <ac:spMk id="6" creationId="{CA34FCAF-F3F3-44BF-AE4A-5BA55537A1AF}"/>
          </ac:spMkLst>
        </pc:spChg>
        <pc:spChg chg="add mod">
          <ac:chgData name="Thomas Stensitzki" userId="75cafe6b-2f2a-469b-85c4-eec3b9c972ba" providerId="ADAL" clId="{57F7190E-C6DB-493D-9B38-21425F3349D1}" dt="2021-06-12T09:52:10.420" v="934" actId="1076"/>
          <ac:spMkLst>
            <pc:docMk/>
            <pc:sldMk cId="2424035884" sldId="295"/>
            <ac:spMk id="7" creationId="{B3514F3E-1C9F-4C36-9341-B10EFA6AAC47}"/>
          </ac:spMkLst>
        </pc:spChg>
        <pc:spChg chg="add mod">
          <ac:chgData name="Thomas Stensitzki" userId="75cafe6b-2f2a-469b-85c4-eec3b9c972ba" providerId="ADAL" clId="{57F7190E-C6DB-493D-9B38-21425F3349D1}" dt="2021-06-12T09:53:18.769" v="944" actId="14100"/>
          <ac:spMkLst>
            <pc:docMk/>
            <pc:sldMk cId="2424035884" sldId="295"/>
            <ac:spMk id="8" creationId="{544E573C-9F30-41E8-BA97-27C93E8D839F}"/>
          </ac:spMkLst>
        </pc:spChg>
        <pc:picChg chg="add mod">
          <ac:chgData name="Thomas Stensitzki" userId="75cafe6b-2f2a-469b-85c4-eec3b9c972ba" providerId="ADAL" clId="{57F7190E-C6DB-493D-9B38-21425F3349D1}" dt="2021-06-12T09:51:59.724" v="932" actId="1076"/>
          <ac:picMkLst>
            <pc:docMk/>
            <pc:sldMk cId="2424035884" sldId="295"/>
            <ac:picMk id="5" creationId="{CDB68F18-4EAD-4810-95A3-0067B2C049A9}"/>
          </ac:picMkLst>
        </pc:picChg>
      </pc:sldChg>
      <pc:sldChg chg="addSp modSp add mod modClrScheme chgLayout">
        <pc:chgData name="Thomas Stensitzki" userId="75cafe6b-2f2a-469b-85c4-eec3b9c972ba" providerId="ADAL" clId="{57F7190E-C6DB-493D-9B38-21425F3349D1}" dt="2021-06-12T09:54:26.194" v="984"/>
        <pc:sldMkLst>
          <pc:docMk/>
          <pc:sldMk cId="3619982522" sldId="296"/>
        </pc:sldMkLst>
        <pc:spChg chg="add mod ord">
          <ac:chgData name="Thomas Stensitzki" userId="75cafe6b-2f2a-469b-85c4-eec3b9c972ba" providerId="ADAL" clId="{57F7190E-C6DB-493D-9B38-21425F3349D1}" dt="2021-06-12T09:54:20.010" v="983"/>
          <ac:spMkLst>
            <pc:docMk/>
            <pc:sldMk cId="3619982522" sldId="296"/>
            <ac:spMk id="2" creationId="{9C43449A-A134-4E49-8F30-3BBF9A9ECB64}"/>
          </ac:spMkLst>
        </pc:spChg>
        <pc:spChg chg="add mod ord">
          <ac:chgData name="Thomas Stensitzki" userId="75cafe6b-2f2a-469b-85c4-eec3b9c972ba" providerId="ADAL" clId="{57F7190E-C6DB-493D-9B38-21425F3349D1}" dt="2021-06-12T09:54:26.194" v="984"/>
          <ac:spMkLst>
            <pc:docMk/>
            <pc:sldMk cId="3619982522" sldId="296"/>
            <ac:spMk id="3" creationId="{CBC56395-3683-494F-AB8F-1479A2122084}"/>
          </ac:spMkLst>
        </pc:spChg>
        <pc:spChg chg="mod ord">
          <ac:chgData name="Thomas Stensitzki" userId="75cafe6b-2f2a-469b-85c4-eec3b9c972ba" providerId="ADAL" clId="{57F7190E-C6DB-493D-9B38-21425F3349D1}" dt="2021-06-12T09:54:12.519" v="982" actId="20577"/>
          <ac:spMkLst>
            <pc:docMk/>
            <pc:sldMk cId="3619982522" sldId="296"/>
            <ac:spMk id="4" creationId="{1BC57DCF-4392-4A1A-8DF9-2510783C7F8D}"/>
          </ac:spMkLst>
        </pc:spChg>
      </pc:sldChg>
      <pc:sldChg chg="addSp modSp add mod modAnim">
        <pc:chgData name="Thomas Stensitzki" userId="75cafe6b-2f2a-469b-85c4-eec3b9c972ba" providerId="ADAL" clId="{57F7190E-C6DB-493D-9B38-21425F3349D1}" dt="2021-06-12T10:04:49.614" v="1025" actId="790"/>
        <pc:sldMkLst>
          <pc:docMk/>
          <pc:sldMk cId="1895348186" sldId="297"/>
        </pc:sldMkLst>
        <pc:spChg chg="add mod">
          <ac:chgData name="Thomas Stensitzki" userId="75cafe6b-2f2a-469b-85c4-eec3b9c972ba" providerId="ADAL" clId="{57F7190E-C6DB-493D-9B38-21425F3349D1}" dt="2021-06-12T09:55:54.639" v="1017" actId="20577"/>
          <ac:spMkLst>
            <pc:docMk/>
            <pc:sldMk cId="1895348186" sldId="297"/>
            <ac:spMk id="3" creationId="{EB7DA9CD-A009-4E79-8874-4428BC8E38C8}"/>
          </ac:spMkLst>
        </pc:spChg>
        <pc:spChg chg="mod">
          <ac:chgData name="Thomas Stensitzki" userId="75cafe6b-2f2a-469b-85c4-eec3b9c972ba" providerId="ADAL" clId="{57F7190E-C6DB-493D-9B38-21425F3349D1}" dt="2021-06-12T10:04:49.614" v="1025" actId="790"/>
          <ac:spMkLst>
            <pc:docMk/>
            <pc:sldMk cId="1895348186" sldId="297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5:39.673" v="1003" actId="1076"/>
          <ac:spMkLst>
            <pc:docMk/>
            <pc:sldMk cId="1895348186" sldId="297"/>
            <ac:spMk id="6" creationId="{BC60FE65-B77A-425C-A84E-52D3F3131C45}"/>
          </ac:spMkLst>
        </pc:spChg>
        <pc:picChg chg="add mod">
          <ac:chgData name="Thomas Stensitzki" userId="75cafe6b-2f2a-469b-85c4-eec3b9c972ba" providerId="ADAL" clId="{57F7190E-C6DB-493D-9B38-21425F3349D1}" dt="2021-06-12T09:55:36.458" v="1002" actId="1076"/>
          <ac:picMkLst>
            <pc:docMk/>
            <pc:sldMk cId="1895348186" sldId="297"/>
            <ac:picMk id="5" creationId="{8E3867A8-76BB-4C2A-A0AC-F0D922635D4C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6:09.363" v="1032"/>
        <pc:sldMkLst>
          <pc:docMk/>
          <pc:sldMk cId="1496815036" sldId="298"/>
        </pc:sldMkLst>
        <pc:spChg chg="add mod">
          <ac:chgData name="Thomas Stensitzki" userId="75cafe6b-2f2a-469b-85c4-eec3b9c972ba" providerId="ADAL" clId="{57F7190E-C6DB-493D-9B38-21425F3349D1}" dt="2021-06-12T10:05:37.097" v="1031" actId="14100"/>
          <ac:spMkLst>
            <pc:docMk/>
            <pc:sldMk cId="1496815036" sldId="298"/>
            <ac:spMk id="3" creationId="{817C738A-6FC6-4588-ACE2-BCFD1C7AA2C3}"/>
          </ac:spMkLst>
        </pc:spChg>
        <pc:spChg chg="mod">
          <ac:chgData name="Thomas Stensitzki" userId="75cafe6b-2f2a-469b-85c4-eec3b9c972ba" providerId="ADAL" clId="{57F7190E-C6DB-493D-9B38-21425F3349D1}" dt="2021-06-12T10:06:09.363" v="1032"/>
          <ac:spMkLst>
            <pc:docMk/>
            <pc:sldMk cId="1496815036" sldId="298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05:26.995" v="1028" actId="1076"/>
          <ac:spMkLst>
            <pc:docMk/>
            <pc:sldMk cId="1496815036" sldId="298"/>
            <ac:spMk id="6" creationId="{BFC975EB-6414-4866-9B7A-F8A6DB96CE65}"/>
          </ac:spMkLst>
        </pc:spChg>
        <pc:picChg chg="add mod">
          <ac:chgData name="Thomas Stensitzki" userId="75cafe6b-2f2a-469b-85c4-eec3b9c972ba" providerId="ADAL" clId="{57F7190E-C6DB-493D-9B38-21425F3349D1}" dt="2021-06-12T10:05:21.534" v="1027" actId="1076"/>
          <ac:picMkLst>
            <pc:docMk/>
            <pc:sldMk cId="1496815036" sldId="298"/>
            <ac:picMk id="5" creationId="{796B390A-7363-4781-ADA2-8C33CE033B38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6:40.255" v="1038" actId="14100"/>
        <pc:sldMkLst>
          <pc:docMk/>
          <pc:sldMk cId="3790751286" sldId="299"/>
        </pc:sldMkLst>
        <pc:spChg chg="add mod">
          <ac:chgData name="Thomas Stensitzki" userId="75cafe6b-2f2a-469b-85c4-eec3b9c972ba" providerId="ADAL" clId="{57F7190E-C6DB-493D-9B38-21425F3349D1}" dt="2021-06-12T10:06:40.255" v="1038" actId="14100"/>
          <ac:spMkLst>
            <pc:docMk/>
            <pc:sldMk cId="3790751286" sldId="299"/>
            <ac:spMk id="3" creationId="{F4498A9F-C17D-4DEB-A1B3-ED1BF85FD7CD}"/>
          </ac:spMkLst>
        </pc:spChg>
        <pc:spChg chg="mod">
          <ac:chgData name="Thomas Stensitzki" userId="75cafe6b-2f2a-469b-85c4-eec3b9c972ba" providerId="ADAL" clId="{57F7190E-C6DB-493D-9B38-21425F3349D1}" dt="2021-06-12T10:06:21.094" v="1033"/>
          <ac:spMkLst>
            <pc:docMk/>
            <pc:sldMk cId="3790751286" sldId="299"/>
            <ac:spMk id="4" creationId="{1BC57DCF-4392-4A1A-8DF9-2510783C7F8D}"/>
          </ac:spMkLst>
        </pc:spChg>
        <pc:picChg chg="add mod">
          <ac:chgData name="Thomas Stensitzki" userId="75cafe6b-2f2a-469b-85c4-eec3b9c972ba" providerId="ADAL" clId="{57F7190E-C6DB-493D-9B38-21425F3349D1}" dt="2021-06-12T10:06:33.835" v="1035" actId="1076"/>
          <ac:picMkLst>
            <pc:docMk/>
            <pc:sldMk cId="3790751286" sldId="299"/>
            <ac:picMk id="5" creationId="{81ECDC8F-BE67-445E-BCBA-2382B2757FD3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7:50.494" v="1077" actId="14100"/>
        <pc:sldMkLst>
          <pc:docMk/>
          <pc:sldMk cId="2014693185" sldId="300"/>
        </pc:sldMkLst>
        <pc:spChg chg="add mod">
          <ac:chgData name="Thomas Stensitzki" userId="75cafe6b-2f2a-469b-85c4-eec3b9c972ba" providerId="ADAL" clId="{57F7190E-C6DB-493D-9B38-21425F3349D1}" dt="2021-06-12T10:07:50.494" v="1077" actId="14100"/>
          <ac:spMkLst>
            <pc:docMk/>
            <pc:sldMk cId="2014693185" sldId="300"/>
            <ac:spMk id="3" creationId="{E3BD5DE5-9CA8-444A-9F79-CD98A1DC6FFD}"/>
          </ac:spMkLst>
        </pc:spChg>
        <pc:spChg chg="mod">
          <ac:chgData name="Thomas Stensitzki" userId="75cafe6b-2f2a-469b-85c4-eec3b9c972ba" providerId="ADAL" clId="{57F7190E-C6DB-493D-9B38-21425F3349D1}" dt="2021-06-12T10:06:56.355" v="1063" actId="20577"/>
          <ac:spMkLst>
            <pc:docMk/>
            <pc:sldMk cId="2014693185" sldId="300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07:33.996" v="1072" actId="1035"/>
          <ac:spMkLst>
            <pc:docMk/>
            <pc:sldMk cId="2014693185" sldId="300"/>
            <ac:spMk id="6" creationId="{3ED0A5CA-7E86-40C9-94EC-4D196CC6F59A}"/>
          </ac:spMkLst>
        </pc:spChg>
        <pc:spChg chg="add mod">
          <ac:chgData name="Thomas Stensitzki" userId="75cafe6b-2f2a-469b-85c4-eec3b9c972ba" providerId="ADAL" clId="{57F7190E-C6DB-493D-9B38-21425F3349D1}" dt="2021-06-12T10:07:42.404" v="1074" actId="1076"/>
          <ac:spMkLst>
            <pc:docMk/>
            <pc:sldMk cId="2014693185" sldId="300"/>
            <ac:spMk id="8" creationId="{654242F7-C2D6-44D9-9D11-85AA43A68C81}"/>
          </ac:spMkLst>
        </pc:spChg>
        <pc:picChg chg="add mod">
          <ac:chgData name="Thomas Stensitzki" userId="75cafe6b-2f2a-469b-85c4-eec3b9c972ba" providerId="ADAL" clId="{57F7190E-C6DB-493D-9B38-21425F3349D1}" dt="2021-06-12T10:07:28.114" v="1066" actId="1076"/>
          <ac:picMkLst>
            <pc:docMk/>
            <pc:sldMk cId="2014693185" sldId="300"/>
            <ac:picMk id="5" creationId="{D0294ABE-0A90-4EFB-B31B-A56B00D3A9A3}"/>
          </ac:picMkLst>
        </pc:picChg>
        <pc:picChg chg="add mod">
          <ac:chgData name="Thomas Stensitzki" userId="75cafe6b-2f2a-469b-85c4-eec3b9c972ba" providerId="ADAL" clId="{57F7190E-C6DB-493D-9B38-21425F3349D1}" dt="2021-06-12T10:07:39.289" v="1073" actId="1076"/>
          <ac:picMkLst>
            <pc:docMk/>
            <pc:sldMk cId="2014693185" sldId="300"/>
            <ac:picMk id="7" creationId="{F6C3FD3B-712E-403C-B837-965C40122FF5}"/>
          </ac:picMkLst>
        </pc:picChg>
      </pc:sldChg>
      <pc:sldChg chg="addSp delSp modSp add mod modAnim">
        <pc:chgData name="Thomas Stensitzki" userId="75cafe6b-2f2a-469b-85c4-eec3b9c972ba" providerId="ADAL" clId="{57F7190E-C6DB-493D-9B38-21425F3349D1}" dt="2021-06-12T10:11:42.664" v="1248" actId="20577"/>
        <pc:sldMkLst>
          <pc:docMk/>
          <pc:sldMk cId="1320160172" sldId="301"/>
        </pc:sldMkLst>
        <pc:spChg chg="add mod">
          <ac:chgData name="Thomas Stensitzki" userId="75cafe6b-2f2a-469b-85c4-eec3b9c972ba" providerId="ADAL" clId="{57F7190E-C6DB-493D-9B38-21425F3349D1}" dt="2021-06-12T10:11:42.664" v="1248" actId="20577"/>
          <ac:spMkLst>
            <pc:docMk/>
            <pc:sldMk cId="1320160172" sldId="301"/>
            <ac:spMk id="3" creationId="{5B4A676D-D639-4459-A9DF-AF8FCA0E18C5}"/>
          </ac:spMkLst>
        </pc:spChg>
        <pc:spChg chg="mod">
          <ac:chgData name="Thomas Stensitzki" userId="75cafe6b-2f2a-469b-85c4-eec3b9c972ba" providerId="ADAL" clId="{57F7190E-C6DB-493D-9B38-21425F3349D1}" dt="2021-06-12T10:08:07.925" v="1078"/>
          <ac:spMkLst>
            <pc:docMk/>
            <pc:sldMk cId="1320160172" sldId="301"/>
            <ac:spMk id="4" creationId="{1BC57DCF-4392-4A1A-8DF9-2510783C7F8D}"/>
          </ac:spMkLst>
        </pc:spChg>
        <pc:spChg chg="add del mod">
          <ac:chgData name="Thomas Stensitzki" userId="75cafe6b-2f2a-469b-85c4-eec3b9c972ba" providerId="ADAL" clId="{57F7190E-C6DB-493D-9B38-21425F3349D1}" dt="2021-06-12T10:08:28.397" v="1081" actId="478"/>
          <ac:spMkLst>
            <pc:docMk/>
            <pc:sldMk cId="1320160172" sldId="301"/>
            <ac:spMk id="5" creationId="{A46B9025-CF39-448C-8B41-DEDA6E0F8D5F}"/>
          </ac:spMkLst>
        </pc:spChg>
        <pc:spChg chg="add mod">
          <ac:chgData name="Thomas Stensitzki" userId="75cafe6b-2f2a-469b-85c4-eec3b9c972ba" providerId="ADAL" clId="{57F7190E-C6DB-493D-9B38-21425F3349D1}" dt="2021-06-12T10:08:33.631" v="1082" actId="1076"/>
          <ac:spMkLst>
            <pc:docMk/>
            <pc:sldMk cId="1320160172" sldId="301"/>
            <ac:spMk id="7" creationId="{898998F2-1ECD-4FEB-B164-6EC38905A2F1}"/>
          </ac:spMkLst>
        </pc:spChg>
        <pc:picChg chg="add mod">
          <ac:chgData name="Thomas Stensitzki" userId="75cafe6b-2f2a-469b-85c4-eec3b9c972ba" providerId="ADAL" clId="{57F7190E-C6DB-493D-9B38-21425F3349D1}" dt="2021-06-12T10:08:24.935" v="1080" actId="1076"/>
          <ac:picMkLst>
            <pc:docMk/>
            <pc:sldMk cId="1320160172" sldId="301"/>
            <ac:picMk id="6" creationId="{A11C0C7D-0412-492A-82F1-D45474E71511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12:49.819" v="1257" actId="14100"/>
        <pc:sldMkLst>
          <pc:docMk/>
          <pc:sldMk cId="3397795474" sldId="302"/>
        </pc:sldMkLst>
        <pc:spChg chg="add mod">
          <ac:chgData name="Thomas Stensitzki" userId="75cafe6b-2f2a-469b-85c4-eec3b9c972ba" providerId="ADAL" clId="{57F7190E-C6DB-493D-9B38-21425F3349D1}" dt="2021-06-12T10:12:49.819" v="1257" actId="14100"/>
          <ac:spMkLst>
            <pc:docMk/>
            <pc:sldMk cId="3397795474" sldId="302"/>
            <ac:spMk id="3" creationId="{073D8606-880F-420A-AB43-5A3D2E46E1A6}"/>
          </ac:spMkLst>
        </pc:spChg>
        <pc:spChg chg="mod">
          <ac:chgData name="Thomas Stensitzki" userId="75cafe6b-2f2a-469b-85c4-eec3b9c972ba" providerId="ADAL" clId="{57F7190E-C6DB-493D-9B38-21425F3349D1}" dt="2021-06-12T10:12:11.793" v="1249"/>
          <ac:spMkLst>
            <pc:docMk/>
            <pc:sldMk cId="3397795474" sldId="302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12:41.259" v="1254" actId="1076"/>
          <ac:spMkLst>
            <pc:docMk/>
            <pc:sldMk cId="3397795474" sldId="302"/>
            <ac:spMk id="6" creationId="{BBB42600-A8AA-4E77-B033-0B5FF7A80CF4}"/>
          </ac:spMkLst>
        </pc:spChg>
        <pc:picChg chg="add mod">
          <ac:chgData name="Thomas Stensitzki" userId="75cafe6b-2f2a-469b-85c4-eec3b9c972ba" providerId="ADAL" clId="{57F7190E-C6DB-493D-9B38-21425F3349D1}" dt="2021-06-12T10:12:35.491" v="1253" actId="1076"/>
          <ac:picMkLst>
            <pc:docMk/>
            <pc:sldMk cId="3397795474" sldId="302"/>
            <ac:picMk id="5" creationId="{1ABDF56D-C5B5-4905-A386-EFBF240012AF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14:07.871" v="1294" actId="20577"/>
        <pc:sldMkLst>
          <pc:docMk/>
          <pc:sldMk cId="2632485574" sldId="303"/>
        </pc:sldMkLst>
        <pc:spChg chg="add mod">
          <ac:chgData name="Thomas Stensitzki" userId="75cafe6b-2f2a-469b-85c4-eec3b9c972ba" providerId="ADAL" clId="{57F7190E-C6DB-493D-9B38-21425F3349D1}" dt="2021-06-12T10:13:39.409" v="1266" actId="14100"/>
          <ac:spMkLst>
            <pc:docMk/>
            <pc:sldMk cId="2632485574" sldId="303"/>
            <ac:spMk id="3" creationId="{94747064-2CED-4A0F-B704-7F8C8870C63D}"/>
          </ac:spMkLst>
        </pc:spChg>
        <pc:spChg chg="mod">
          <ac:chgData name="Thomas Stensitzki" userId="75cafe6b-2f2a-469b-85c4-eec3b9c972ba" providerId="ADAL" clId="{57F7190E-C6DB-493D-9B38-21425F3349D1}" dt="2021-06-12T10:14:07.871" v="1294" actId="20577"/>
          <ac:spMkLst>
            <pc:docMk/>
            <pc:sldMk cId="2632485574" sldId="303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13:29.572" v="1263" actId="1035"/>
          <ac:spMkLst>
            <pc:docMk/>
            <pc:sldMk cId="2632485574" sldId="303"/>
            <ac:spMk id="6" creationId="{74F8908A-CAF0-4276-A237-7C7ECAE2B266}"/>
          </ac:spMkLst>
        </pc:spChg>
        <pc:picChg chg="add mod">
          <ac:chgData name="Thomas Stensitzki" userId="75cafe6b-2f2a-469b-85c4-eec3b9c972ba" providerId="ADAL" clId="{57F7190E-C6DB-493D-9B38-21425F3349D1}" dt="2021-06-12T10:13:22.826" v="1260" actId="1076"/>
          <ac:picMkLst>
            <pc:docMk/>
            <pc:sldMk cId="2632485574" sldId="303"/>
            <ac:picMk id="5" creationId="{7E1A3EAF-69BE-4C58-884E-AD18CF55EEE4}"/>
          </ac:picMkLst>
        </pc:picChg>
      </pc:sldChg>
      <pc:sldChg chg="addSp delSp modSp add mod modAnim">
        <pc:chgData name="Thomas Stensitzki" userId="75cafe6b-2f2a-469b-85c4-eec3b9c972ba" providerId="ADAL" clId="{57F7190E-C6DB-493D-9B38-21425F3349D1}" dt="2021-06-12T10:14:48.500" v="1334" actId="14100"/>
        <pc:sldMkLst>
          <pc:docMk/>
          <pc:sldMk cId="3771604094" sldId="304"/>
        </pc:sldMkLst>
        <pc:spChg chg="add del mod">
          <ac:chgData name="Thomas Stensitzki" userId="75cafe6b-2f2a-469b-85c4-eec3b9c972ba" providerId="ADAL" clId="{57F7190E-C6DB-493D-9B38-21425F3349D1}" dt="2021-06-12T10:14:28.660" v="1328"/>
          <ac:spMkLst>
            <pc:docMk/>
            <pc:sldMk cId="3771604094" sldId="304"/>
            <ac:spMk id="3" creationId="{081831A5-2DA7-42B2-B694-811A4162A1F7}"/>
          </ac:spMkLst>
        </pc:spChg>
        <pc:spChg chg="mod">
          <ac:chgData name="Thomas Stensitzki" userId="75cafe6b-2f2a-469b-85c4-eec3b9c972ba" providerId="ADAL" clId="{57F7190E-C6DB-493D-9B38-21425F3349D1}" dt="2021-06-12T10:14:19.101" v="1326" actId="20577"/>
          <ac:spMkLst>
            <pc:docMk/>
            <pc:sldMk cId="3771604094" sldId="304"/>
            <ac:spMk id="4" creationId="{1BC57DCF-4392-4A1A-8DF9-2510783C7F8D}"/>
          </ac:spMkLst>
        </pc:spChg>
        <pc:spChg chg="add del mod">
          <ac:chgData name="Thomas Stensitzki" userId="75cafe6b-2f2a-469b-85c4-eec3b9c972ba" providerId="ADAL" clId="{57F7190E-C6DB-493D-9B38-21425F3349D1}" dt="2021-06-12T10:14:28.660" v="1328"/>
          <ac:spMkLst>
            <pc:docMk/>
            <pc:sldMk cId="3771604094" sldId="304"/>
            <ac:spMk id="6" creationId="{D88D3BA2-D66C-4A7E-9910-48C27065DF26}"/>
          </ac:spMkLst>
        </pc:spChg>
        <pc:spChg chg="add mod">
          <ac:chgData name="Thomas Stensitzki" userId="75cafe6b-2f2a-469b-85c4-eec3b9c972ba" providerId="ADAL" clId="{57F7190E-C6DB-493D-9B38-21425F3349D1}" dt="2021-06-12T10:14:48.500" v="1334" actId="14100"/>
          <ac:spMkLst>
            <pc:docMk/>
            <pc:sldMk cId="3771604094" sldId="304"/>
            <ac:spMk id="7" creationId="{E2B5D256-BDC2-498D-9AF2-FD3A3F229ABA}"/>
          </ac:spMkLst>
        </pc:spChg>
        <pc:picChg chg="add del mod">
          <ac:chgData name="Thomas Stensitzki" userId="75cafe6b-2f2a-469b-85c4-eec3b9c972ba" providerId="ADAL" clId="{57F7190E-C6DB-493D-9B38-21425F3349D1}" dt="2021-06-12T10:14:28.660" v="1328"/>
          <ac:picMkLst>
            <pc:docMk/>
            <pc:sldMk cId="3771604094" sldId="304"/>
            <ac:picMk id="5" creationId="{4375DF08-3A0C-4E04-AEDA-8789C2C85846}"/>
          </ac:picMkLst>
        </pc:picChg>
        <pc:picChg chg="add mod">
          <ac:chgData name="Thomas Stensitzki" userId="75cafe6b-2f2a-469b-85c4-eec3b9c972ba" providerId="ADAL" clId="{57F7190E-C6DB-493D-9B38-21425F3349D1}" dt="2021-06-12T10:14:39.666" v="1330" actId="1076"/>
          <ac:picMkLst>
            <pc:docMk/>
            <pc:sldMk cId="3771604094" sldId="304"/>
            <ac:picMk id="8" creationId="{5F88A5D9-0A50-4167-86AD-2AE54EC19207}"/>
          </ac:picMkLst>
        </pc:picChg>
      </pc:sldChg>
      <pc:sldChg chg="addSp modSp add mod modClrScheme chgLayout">
        <pc:chgData name="Thomas Stensitzki" userId="75cafe6b-2f2a-469b-85c4-eec3b9c972ba" providerId="ADAL" clId="{57F7190E-C6DB-493D-9B38-21425F3349D1}" dt="2021-06-12T10:48:36.455" v="1365" actId="20577"/>
        <pc:sldMkLst>
          <pc:docMk/>
          <pc:sldMk cId="1486470369" sldId="305"/>
        </pc:sldMkLst>
        <pc:spChg chg="add mod ord">
          <ac:chgData name="Thomas Stensitzki" userId="75cafe6b-2f2a-469b-85c4-eec3b9c972ba" providerId="ADAL" clId="{57F7190E-C6DB-493D-9B38-21425F3349D1}" dt="2021-06-12T10:48:36.455" v="1365" actId="20577"/>
          <ac:spMkLst>
            <pc:docMk/>
            <pc:sldMk cId="1486470369" sldId="305"/>
            <ac:spMk id="2" creationId="{DBD8145C-D3F2-4AF3-B75E-AEF58E919899}"/>
          </ac:spMkLst>
        </pc:spChg>
        <pc:spChg chg="mod ord">
          <ac:chgData name="Thomas Stensitzki" userId="75cafe6b-2f2a-469b-85c4-eec3b9c972ba" providerId="ADAL" clId="{57F7190E-C6DB-493D-9B38-21425F3349D1}" dt="2021-06-12T10:15:23.446" v="1336" actId="700"/>
          <ac:spMkLst>
            <pc:docMk/>
            <pc:sldMk cId="1486470369" sldId="305"/>
            <ac:spMk id="4" creationId="{1BC57DCF-4392-4A1A-8DF9-2510783C7F8D}"/>
          </ac:spMkLst>
        </pc:spChg>
      </pc:sldChg>
      <pc:sldChg chg="add del">
        <pc:chgData name="Thomas Stensitzki" userId="75cafe6b-2f2a-469b-85c4-eec3b9c972ba" providerId="ADAL" clId="{57F7190E-C6DB-493D-9B38-21425F3349D1}" dt="2021-06-12T10:48:41.463" v="1366" actId="47"/>
        <pc:sldMkLst>
          <pc:docMk/>
          <pc:sldMk cId="1329062221" sldId="306"/>
        </pc:sldMkLst>
      </pc:sldChg>
      <pc:sldChg chg="add del">
        <pc:chgData name="Thomas Stensitzki" userId="75cafe6b-2f2a-469b-85c4-eec3b9c972ba" providerId="ADAL" clId="{57F7190E-C6DB-493D-9B38-21425F3349D1}" dt="2021-06-12T10:48:41.463" v="1366" actId="47"/>
        <pc:sldMkLst>
          <pc:docMk/>
          <pc:sldMk cId="1313190542" sldId="307"/>
        </pc:sldMkLst>
      </pc:sldChg>
      <pc:sldMasterChg chg="addSp delSp modSp addSldLayout modSldLayout">
        <pc:chgData name="Thomas Stensitzki" userId="75cafe6b-2f2a-469b-85c4-eec3b9c972ba" providerId="ADAL" clId="{57F7190E-C6DB-493D-9B38-21425F3349D1}" dt="2021-06-12T09:58:04.422" v="1024"/>
        <pc:sldMasterMkLst>
          <pc:docMk/>
          <pc:sldMasterMk cId="2555528882" sldId="2147483648"/>
        </pc:sldMasterMkLst>
        <pc:spChg chg="mod">
          <ac:chgData name="Thomas Stensitzki" userId="75cafe6b-2f2a-469b-85c4-eec3b9c972ba" providerId="ADAL" clId="{57F7190E-C6DB-493D-9B38-21425F3349D1}" dt="2021-06-12T08:47:49.997" v="110" actId="255"/>
          <ac:spMkLst>
            <pc:docMk/>
            <pc:sldMasterMk cId="2555528882" sldId="2147483648"/>
            <ac:spMk id="2" creationId="{00000000-0000-0000-0000-000000000000}"/>
          </ac:spMkLst>
        </pc:spChg>
        <pc:picChg chg="add del mod">
          <ac:chgData name="Thomas Stensitzki" userId="75cafe6b-2f2a-469b-85c4-eec3b9c972ba" providerId="ADAL" clId="{57F7190E-C6DB-493D-9B38-21425F3349D1}" dt="2021-06-12T08:49:41.299" v="113"/>
          <ac:picMkLst>
            <pc:docMk/>
            <pc:sldMasterMk cId="2555528882" sldId="2147483648"/>
            <ac:picMk id="7" creationId="{D2D94775-893E-4C78-8A28-40E261AC699B}"/>
          </ac:picMkLst>
        </pc:picChg>
        <pc:sldLayoutChg chg="delSp mod">
          <pc:chgData name="Thomas Stensitzki" userId="75cafe6b-2f2a-469b-85c4-eec3b9c972ba" providerId="ADAL" clId="{57F7190E-C6DB-493D-9B38-21425F3349D1}" dt="2021-06-12T08:50:09.157" v="118" actId="478"/>
          <pc:sldLayoutMkLst>
            <pc:docMk/>
            <pc:sldMasterMk cId="2555528882" sldId="2147483648"/>
            <pc:sldLayoutMk cId="3100310782" sldId="2147483649"/>
          </pc:sldLayoutMkLst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6" creationId="{00000000-0000-0000-0000-000000000000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6:46.536" v="217" actId="14100"/>
          <pc:sldLayoutMkLst>
            <pc:docMk/>
            <pc:sldMasterMk cId="2555528882" sldId="2147483648"/>
            <pc:sldLayoutMk cId="2424793572" sldId="2147483650"/>
          </pc:sldLayoutMkLst>
          <pc:spChg chg="del mod">
            <ac:chgData name="Thomas Stensitzki" userId="75cafe6b-2f2a-469b-85c4-eec3b9c972ba" providerId="ADAL" clId="{57F7190E-C6DB-493D-9B38-21425F3349D1}" dt="2021-06-12T09:03:14.270" v="192"/>
            <ac:spMkLst>
              <pc:docMk/>
              <pc:sldMasterMk cId="2555528882" sldId="2147483648"/>
              <pc:sldLayoutMk cId="2424793572" sldId="2147483650"/>
              <ac:spMk id="2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6:46.536" v="217" actId="14100"/>
            <ac:spMkLst>
              <pc:docMk/>
              <pc:sldMasterMk cId="2555528882" sldId="2147483648"/>
              <pc:sldLayoutMk cId="2424793572" sldId="2147483650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6" creationId="{00000000-0000-0000-0000-000000000000}"/>
            </ac:spMkLst>
          </pc:spChg>
          <pc:spChg chg="add mod">
            <ac:chgData name="Thomas Stensitzki" userId="75cafe6b-2f2a-469b-85c4-eec3b9c972ba" providerId="ADAL" clId="{57F7190E-C6DB-493D-9B38-21425F3349D1}" dt="2021-06-12T09:03:36.523" v="195" actId="1076"/>
            <ac:spMkLst>
              <pc:docMk/>
              <pc:sldMasterMk cId="2555528882" sldId="2147483648"/>
              <pc:sldLayoutMk cId="2424793572" sldId="2147483650"/>
              <ac:spMk id="7" creationId="{742EAD0D-A136-4F60-A439-271B37588CC6}"/>
            </ac:spMkLst>
          </pc:spChg>
          <pc:spChg chg="add del mod">
            <ac:chgData name="Thomas Stensitzki" userId="75cafe6b-2f2a-469b-85c4-eec3b9c972ba" providerId="ADAL" clId="{57F7190E-C6DB-493D-9B38-21425F3349D1}" dt="2021-06-12T08:53:03.020" v="123"/>
            <ac:spMkLst>
              <pc:docMk/>
              <pc:sldMasterMk cId="2555528882" sldId="2147483648"/>
              <pc:sldLayoutMk cId="2424793572" sldId="2147483650"/>
              <ac:spMk id="15" creationId="{69D8CCDF-1F53-427C-B9B7-B2058DEDB7FF}"/>
            </ac:spMkLst>
          </pc:spChg>
        </pc:sldLayoutChg>
        <pc:sldLayoutChg chg="delSp modSp mod">
          <pc:chgData name="Thomas Stensitzki" userId="75cafe6b-2f2a-469b-85c4-eec3b9c972ba" providerId="ADAL" clId="{57F7190E-C6DB-493D-9B38-21425F3349D1}" dt="2021-06-12T09:39:45.954" v="576" actId="255"/>
          <pc:sldLayoutMkLst>
            <pc:docMk/>
            <pc:sldMasterMk cId="2555528882" sldId="2147483648"/>
            <pc:sldLayoutMk cId="3832393987" sldId="2147483651"/>
          </pc:sldLayoutMkLst>
          <pc:spChg chg="mod">
            <ac:chgData name="Thomas Stensitzki" userId="75cafe6b-2f2a-469b-85c4-eec3b9c972ba" providerId="ADAL" clId="{57F7190E-C6DB-493D-9B38-21425F3349D1}" dt="2021-06-12T09:39:45.954" v="576" actId="255"/>
            <ac:spMkLst>
              <pc:docMk/>
              <pc:sldMasterMk cId="2555528882" sldId="2147483648"/>
              <pc:sldLayoutMk cId="3832393987" sldId="2147483651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6" creationId="{00000000-0000-0000-0000-000000000000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4:45.072" v="207" actId="14100"/>
          <pc:sldLayoutMkLst>
            <pc:docMk/>
            <pc:sldMasterMk cId="2555528882" sldId="2147483648"/>
            <pc:sldLayoutMk cId="2740048041" sldId="2147483652"/>
          </pc:sldLayoutMkLst>
          <pc:spChg chg="del">
            <ac:chgData name="Thomas Stensitzki" userId="75cafe6b-2f2a-469b-85c4-eec3b9c972ba" providerId="ADAL" clId="{57F7190E-C6DB-493D-9B38-21425F3349D1}" dt="2021-06-12T08:54:40.113" v="137" actId="478"/>
            <ac:spMkLst>
              <pc:docMk/>
              <pc:sldMasterMk cId="2555528882" sldId="2147483648"/>
              <pc:sldLayoutMk cId="2740048041" sldId="2147483652"/>
              <ac:spMk id="2" creationId="{00000000-0000-0000-0000-000000000000}"/>
            </ac:spMkLst>
          </pc:spChg>
          <pc:spChg chg="mod">
            <ac:chgData name="Thomas Stensitzki" userId="75cafe6b-2f2a-469b-85c4-eec3b9c972ba" providerId="ADAL" clId="{57F7190E-C6DB-493D-9B38-21425F3349D1}" dt="2021-06-12T09:04:45.072" v="207" actId="14100"/>
            <ac:spMkLst>
              <pc:docMk/>
              <pc:sldMasterMk cId="2555528882" sldId="2147483648"/>
              <pc:sldLayoutMk cId="2740048041" sldId="2147483652"/>
              <ac:spMk id="3" creationId="{00000000-0000-0000-0000-000000000000}"/>
            </ac:spMkLst>
          </pc:spChg>
          <pc:spChg chg="mod">
            <ac:chgData name="Thomas Stensitzki" userId="75cafe6b-2f2a-469b-85c4-eec3b9c972ba" providerId="ADAL" clId="{57F7190E-C6DB-493D-9B38-21425F3349D1}" dt="2021-06-12T09:04:36.360" v="206" actId="14100"/>
            <ac:spMkLst>
              <pc:docMk/>
              <pc:sldMasterMk cId="2555528882" sldId="2147483648"/>
              <pc:sldLayoutMk cId="2740048041" sldId="2147483652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7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3:56.227" v="196" actId="478"/>
            <ac:spMkLst>
              <pc:docMk/>
              <pc:sldMasterMk cId="2555528882" sldId="2147483648"/>
              <pc:sldLayoutMk cId="2740048041" sldId="2147483652"/>
              <ac:spMk id="17" creationId="{507F1C55-77E1-4FC6-9690-5F2C65E902C2}"/>
            </ac:spMkLst>
          </pc:spChg>
          <pc:spChg chg="add mod">
            <ac:chgData name="Thomas Stensitzki" userId="75cafe6b-2f2a-469b-85c4-eec3b9c972ba" providerId="ADAL" clId="{57F7190E-C6DB-493D-9B38-21425F3349D1}" dt="2021-06-12T09:03:56.927" v="197"/>
            <ac:spMkLst>
              <pc:docMk/>
              <pc:sldMasterMk cId="2555528882" sldId="2147483648"/>
              <pc:sldLayoutMk cId="2740048041" sldId="2147483652"/>
              <ac:spMk id="18" creationId="{F2B04EA4-4D5F-42BC-B028-93C69BEEA1CA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4:05.805" v="199"/>
          <pc:sldLayoutMkLst>
            <pc:docMk/>
            <pc:sldMasterMk cId="2555528882" sldId="2147483648"/>
            <pc:sldLayoutMk cId="3765670948" sldId="2147483653"/>
          </pc:sldLayoutMkLst>
          <pc:spChg chg="del">
            <ac:chgData name="Thomas Stensitzki" userId="75cafe6b-2f2a-469b-85c4-eec3b9c972ba" providerId="ADAL" clId="{57F7190E-C6DB-493D-9B38-21425F3349D1}" dt="2021-06-12T09:01:02.163" v="186" actId="478"/>
            <ac:spMkLst>
              <pc:docMk/>
              <pc:sldMasterMk cId="2555528882" sldId="2147483648"/>
              <pc:sldLayoutMk cId="3765670948" sldId="2147483653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7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8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9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4:05.549" v="198" actId="478"/>
            <ac:spMkLst>
              <pc:docMk/>
              <pc:sldMasterMk cId="2555528882" sldId="2147483648"/>
              <pc:sldLayoutMk cId="3765670948" sldId="2147483653"/>
              <ac:spMk id="19" creationId="{DEAC3CC9-31CC-4A36-9F01-D51E2ED452FD}"/>
            </ac:spMkLst>
          </pc:spChg>
          <pc:spChg chg="add mod">
            <ac:chgData name="Thomas Stensitzki" userId="75cafe6b-2f2a-469b-85c4-eec3b9c972ba" providerId="ADAL" clId="{57F7190E-C6DB-493D-9B38-21425F3349D1}" dt="2021-06-12T09:04:05.805" v="199"/>
            <ac:spMkLst>
              <pc:docMk/>
              <pc:sldMasterMk cId="2555528882" sldId="2147483648"/>
              <pc:sldLayoutMk cId="3765670948" sldId="2147483653"/>
              <ac:spMk id="20" creationId="{8525FDEA-3C2A-43CC-A5F1-10A5632A1667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58:00.682" v="1023"/>
          <pc:sldLayoutMkLst>
            <pc:docMk/>
            <pc:sldMasterMk cId="2555528882" sldId="2147483648"/>
            <pc:sldLayoutMk cId="400615354" sldId="2147483654"/>
          </pc:sldLayoutMkLst>
          <pc:spChg chg="del">
            <ac:chgData name="Thomas Stensitzki" userId="75cafe6b-2f2a-469b-85c4-eec3b9c972ba" providerId="ADAL" clId="{57F7190E-C6DB-493D-9B38-21425F3349D1}" dt="2021-06-12T09:01:09.695" v="188" actId="478"/>
            <ac:spMkLst>
              <pc:docMk/>
              <pc:sldMasterMk cId="2555528882" sldId="2147483648"/>
              <pc:sldLayoutMk cId="400615354" sldId="2147483654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5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4:09.968" v="200" actId="478"/>
            <ac:spMkLst>
              <pc:docMk/>
              <pc:sldMasterMk cId="2555528882" sldId="2147483648"/>
              <pc:sldLayoutMk cId="400615354" sldId="2147483654"/>
              <ac:spMk id="8" creationId="{5E1DC52A-41EC-4660-9AA8-5EBB7CEA0E2B}"/>
            </ac:spMkLst>
          </pc:spChg>
          <pc:spChg chg="add mod">
            <ac:chgData name="Thomas Stensitzki" userId="75cafe6b-2f2a-469b-85c4-eec3b9c972ba" providerId="ADAL" clId="{57F7190E-C6DB-493D-9B38-21425F3349D1}" dt="2021-06-12T09:04:10.315" v="201"/>
            <ac:spMkLst>
              <pc:docMk/>
              <pc:sldMasterMk cId="2555528882" sldId="2147483648"/>
              <pc:sldLayoutMk cId="400615354" sldId="2147483654"/>
              <ac:spMk id="11" creationId="{A278A04B-EF88-403E-AA91-E98E9BA59531}"/>
            </ac:spMkLst>
          </pc:spChg>
          <pc:grpChg chg="add mod">
            <ac:chgData name="Thomas Stensitzki" userId="75cafe6b-2f2a-469b-85c4-eec3b9c972ba" providerId="ADAL" clId="{57F7190E-C6DB-493D-9B38-21425F3349D1}" dt="2021-06-12T09:08:09.078" v="225"/>
            <ac:grpSpMkLst>
              <pc:docMk/>
              <pc:sldMasterMk cId="2555528882" sldId="2147483648"/>
              <pc:sldLayoutMk cId="400615354" sldId="2147483654"/>
              <ac:grpSpMk id="12" creationId="{657FF94C-86CD-4AA6-839E-B950515BB1FF}"/>
            </ac:grpSpMkLst>
          </pc:grpChg>
          <pc:picChg chg="del">
            <ac:chgData name="Thomas Stensitzki" userId="75cafe6b-2f2a-469b-85c4-eec3b9c972ba" providerId="ADAL" clId="{57F7190E-C6DB-493D-9B38-21425F3349D1}" dt="2021-06-12T09:57:58.276" v="1022" actId="21"/>
            <ac:picMkLst>
              <pc:docMk/>
              <pc:sldMasterMk cId="2555528882" sldId="2147483648"/>
              <pc:sldLayoutMk cId="400615354" sldId="2147483654"/>
              <ac:picMk id="10" creationId="{D2F92F2B-57F2-41D6-8F6B-0E4AB61D8CD8}"/>
            </ac:picMkLst>
          </pc:picChg>
          <pc:picChg chg="mod">
            <ac:chgData name="Thomas Stensitzki" userId="75cafe6b-2f2a-469b-85c4-eec3b9c972ba" providerId="ADAL" clId="{57F7190E-C6DB-493D-9B38-21425F3349D1}" dt="2021-06-12T09:08:09.078" v="225"/>
            <ac:picMkLst>
              <pc:docMk/>
              <pc:sldMasterMk cId="2555528882" sldId="2147483648"/>
              <pc:sldLayoutMk cId="400615354" sldId="2147483654"/>
              <ac:picMk id="13" creationId="{4F3EDF98-2687-42C1-A4C1-1896EFBE325E}"/>
            </ac:picMkLst>
          </pc:picChg>
          <pc:picChg chg="mod ord">
            <ac:chgData name="Thomas Stensitzki" userId="75cafe6b-2f2a-469b-85c4-eec3b9c972ba" providerId="ADAL" clId="{57F7190E-C6DB-493D-9B38-21425F3349D1}" dt="2021-06-12T09:56:45.051" v="1018" actId="167"/>
            <ac:picMkLst>
              <pc:docMk/>
              <pc:sldMasterMk cId="2555528882" sldId="2147483648"/>
              <pc:sldLayoutMk cId="400615354" sldId="2147483654"/>
              <ac:picMk id="14" creationId="{162D4F83-D2BC-471B-A636-4D953620E8BC}"/>
            </ac:picMkLst>
          </pc:picChg>
          <pc:picChg chg="add mod">
            <ac:chgData name="Thomas Stensitzki" userId="75cafe6b-2f2a-469b-85c4-eec3b9c972ba" providerId="ADAL" clId="{57F7190E-C6DB-493D-9B38-21425F3349D1}" dt="2021-06-12T09:58:00.682" v="1023"/>
            <ac:picMkLst>
              <pc:docMk/>
              <pc:sldMasterMk cId="2555528882" sldId="2147483648"/>
              <pc:sldLayoutMk cId="400615354" sldId="2147483654"/>
              <ac:picMk id="15" creationId="{992E59BA-49E1-4DE1-BDEE-694296862B13}"/>
            </ac:picMkLst>
          </pc:picChg>
        </pc:sldLayoutChg>
        <pc:sldLayoutChg chg="delSp mod">
          <pc:chgData name="Thomas Stensitzki" userId="75cafe6b-2f2a-469b-85c4-eec3b9c972ba" providerId="ADAL" clId="{57F7190E-C6DB-493D-9B38-21425F3349D1}" dt="2021-06-12T09:00:38.156" v="181" actId="478"/>
          <pc:sldLayoutMkLst>
            <pc:docMk/>
            <pc:sldMasterMk cId="2555528882" sldId="2147483648"/>
            <pc:sldLayoutMk cId="3450312708" sldId="2147483655"/>
          </pc:sldLayoutMkLst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4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57F7190E-C6DB-493D-9B38-21425F3349D1}" dt="2021-06-12T09:00:48.070" v="184" actId="478"/>
          <pc:sldLayoutMkLst>
            <pc:docMk/>
            <pc:sldMasterMk cId="2555528882" sldId="2147483648"/>
            <pc:sldLayoutMk cId="1224618681" sldId="2147483656"/>
          </pc:sldLayoutMkLst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7" creationId="{00000000-0000-0000-0000-000000000000}"/>
            </ac:spMkLst>
          </pc:spChg>
          <pc:grpChg chg="mod">
            <ac:chgData name="Thomas Stensitzki" userId="75cafe6b-2f2a-469b-85c4-eec3b9c972ba" providerId="ADAL" clId="{57F7190E-C6DB-493D-9B38-21425F3349D1}" dt="2021-06-12T09:00:42.562" v="183" actId="1076"/>
            <ac:grpSpMkLst>
              <pc:docMk/>
              <pc:sldMasterMk cId="2555528882" sldId="2147483648"/>
              <pc:sldLayoutMk cId="1224618681" sldId="2147483656"/>
              <ac:grpSpMk id="12" creationId="{C398599A-0C0C-468F-A498-A7B6F26BC7C9}"/>
            </ac:grpSpMkLst>
          </pc:grpChg>
        </pc:sldLayoutChg>
        <pc:sldLayoutChg chg="delSp mod">
          <pc:chgData name="Thomas Stensitzki" userId="75cafe6b-2f2a-469b-85c4-eec3b9c972ba" providerId="ADAL" clId="{57F7190E-C6DB-493D-9B38-21425F3349D1}" dt="2021-06-12T09:00:52.241" v="185" actId="478"/>
          <pc:sldLayoutMkLst>
            <pc:docMk/>
            <pc:sldMasterMk cId="2555528882" sldId="2147483648"/>
            <pc:sldLayoutMk cId="2480676707" sldId="2147483657"/>
          </pc:sldLayoutMkLst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7" creationId="{00000000-0000-0000-0000-000000000000}"/>
            </ac:spMkLst>
          </pc:spChg>
        </pc:sldLayoutChg>
        <pc:sldLayoutChg chg="addSp delSp modSp add mod modTransition">
          <pc:chgData name="Thomas Stensitzki" userId="75cafe6b-2f2a-469b-85c4-eec3b9c972ba" providerId="ADAL" clId="{57F7190E-C6DB-493D-9B38-21425F3349D1}" dt="2021-06-12T09:58:04.422" v="1024"/>
          <pc:sldLayoutMkLst>
            <pc:docMk/>
            <pc:sldMasterMk cId="2555528882" sldId="2147483648"/>
            <pc:sldLayoutMk cId="1803197714" sldId="2147483659"/>
          </pc:sldLayoutMkLst>
          <pc:spChg chg="del">
            <ac:chgData name="Thomas Stensitzki" userId="75cafe6b-2f2a-469b-85c4-eec3b9c972ba" providerId="ADAL" clId="{57F7190E-C6DB-493D-9B38-21425F3349D1}" dt="2021-06-12T09:08:28.076" v="228"/>
            <ac:spMkLst>
              <pc:docMk/>
              <pc:sldMasterMk cId="2555528882" sldId="2147483648"/>
              <pc:sldLayoutMk cId="1803197714" sldId="2147483659"/>
              <ac:spMk id="11" creationId="{A278A04B-EF88-403E-AA91-E98E9BA59531}"/>
            </ac:spMkLst>
          </pc:spChg>
          <pc:picChg chg="add del mod">
            <ac:chgData name="Thomas Stensitzki" userId="75cafe6b-2f2a-469b-85c4-eec3b9c972ba" providerId="ADAL" clId="{57F7190E-C6DB-493D-9B38-21425F3349D1}" dt="2021-06-12T09:57:19.290" v="1020"/>
            <ac:picMkLst>
              <pc:docMk/>
              <pc:sldMasterMk cId="2555528882" sldId="2147483648"/>
              <pc:sldLayoutMk cId="1803197714" sldId="2147483659"/>
              <ac:picMk id="8" creationId="{3AD1AC5D-E5B9-4345-AA94-A23BFD361FB7}"/>
            </ac:picMkLst>
          </pc:picChg>
          <pc:picChg chg="del">
            <ac:chgData name="Thomas Stensitzki" userId="75cafe6b-2f2a-469b-85c4-eec3b9c972ba" providerId="ADAL" clId="{57F7190E-C6DB-493D-9B38-21425F3349D1}" dt="2021-06-12T09:57:33.660" v="1021" actId="478"/>
            <ac:picMkLst>
              <pc:docMk/>
              <pc:sldMasterMk cId="2555528882" sldId="2147483648"/>
              <pc:sldLayoutMk cId="1803197714" sldId="2147483659"/>
              <ac:picMk id="10" creationId="{D2F92F2B-57F2-41D6-8F6B-0E4AB61D8CD8}"/>
            </ac:picMkLst>
          </pc:picChg>
          <pc:picChg chg="add mod">
            <ac:chgData name="Thomas Stensitzki" userId="75cafe6b-2f2a-469b-85c4-eec3b9c972ba" providerId="ADAL" clId="{57F7190E-C6DB-493D-9B38-21425F3349D1}" dt="2021-06-12T09:58:04.422" v="1024"/>
            <ac:picMkLst>
              <pc:docMk/>
              <pc:sldMasterMk cId="2555528882" sldId="2147483648"/>
              <pc:sldLayoutMk cId="1803197714" sldId="2147483659"/>
              <ac:picMk id="15" creationId="{8823C96A-02E8-4CA2-9365-93EA0FDBF6DB}"/>
            </ac:picMkLst>
          </pc:picChg>
        </pc:sldLayoutChg>
      </pc:sldMasterChg>
    </pc:docChg>
  </pc:docChgLst>
  <pc:docChgLst>
    <pc:chgData name="Thomas Stensitzki" userId="75cafe6b-2f2a-469b-85c4-eec3b9c972ba" providerId="ADAL" clId="{2A9F7F8B-7CA8-41D0-9950-96EBBF552938}"/>
    <pc:docChg chg="undo custSel addSld delSld modSld sldOrd addSection delSection modSection">
      <pc:chgData name="Thomas Stensitzki" userId="75cafe6b-2f2a-469b-85c4-eec3b9c972ba" providerId="ADAL" clId="{2A9F7F8B-7CA8-41D0-9950-96EBBF552938}" dt="2021-06-30T12:12:25.683" v="3672" actId="20577"/>
      <pc:docMkLst>
        <pc:docMk/>
      </pc:docMkLst>
      <pc:sldChg chg="modSp mod modNotes">
        <pc:chgData name="Thomas Stensitzki" userId="75cafe6b-2f2a-469b-85c4-eec3b9c972ba" providerId="ADAL" clId="{2A9F7F8B-7CA8-41D0-9950-96EBBF552938}" dt="2021-06-12T11:19:58.705" v="755" actId="790"/>
        <pc:sldMkLst>
          <pc:docMk/>
          <pc:sldMk cId="837893050" sldId="257"/>
        </pc:sldMkLst>
        <pc:spChg chg="mod">
          <ac:chgData name="Thomas Stensitzki" userId="75cafe6b-2f2a-469b-85c4-eec3b9c972ba" providerId="ADAL" clId="{2A9F7F8B-7CA8-41D0-9950-96EBBF552938}" dt="2021-06-12T11:19:58.702" v="753" actId="790"/>
          <ac:spMkLst>
            <pc:docMk/>
            <pc:sldMk cId="837893050" sldId="257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01" v="752" actId="790"/>
          <ac:spMkLst>
            <pc:docMk/>
            <pc:sldMk cId="837893050" sldId="257"/>
            <ac:spMk id="3" creationId="{55EECAA5-82D3-4367-9106-98BFFCC15386}"/>
          </ac:spMkLst>
        </pc:spChg>
      </pc:sldChg>
      <pc:sldChg chg="modSp del mod modNotes">
        <pc:chgData name="Thomas Stensitzki" userId="75cafe6b-2f2a-469b-85c4-eec3b9c972ba" providerId="ADAL" clId="{2A9F7F8B-7CA8-41D0-9950-96EBBF552938}" dt="2021-06-29T16:00:45.905" v="3463" actId="47"/>
        <pc:sldMkLst>
          <pc:docMk/>
          <pc:sldMk cId="2333699400" sldId="258"/>
        </pc:sldMkLst>
        <pc:spChg chg="mod">
          <ac:chgData name="Thomas Stensitzki" userId="75cafe6b-2f2a-469b-85c4-eec3b9c972ba" providerId="ADAL" clId="{2A9F7F8B-7CA8-41D0-9950-96EBBF552938}" dt="2021-06-12T11:19:58.695" v="749" actId="790"/>
          <ac:spMkLst>
            <pc:docMk/>
            <pc:sldMk cId="2333699400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94" v="748" actId="790"/>
          <ac:spMkLst>
            <pc:docMk/>
            <pc:sldMk cId="2333699400" sldId="258"/>
            <ac:spMk id="3" creationId="{D4F368FD-7AA6-4F04-BAA7-AF97C5374551}"/>
          </ac:spMkLst>
        </pc:spChg>
      </pc:sldChg>
      <pc:sldChg chg="delSp modSp mod modNotes">
        <pc:chgData name="Thomas Stensitzki" userId="75cafe6b-2f2a-469b-85c4-eec3b9c972ba" providerId="ADAL" clId="{2A9F7F8B-7CA8-41D0-9950-96EBBF552938}" dt="2021-06-30T12:12:13.967" v="3666" actId="478"/>
        <pc:sldMkLst>
          <pc:docMk/>
          <pc:sldMk cId="2756875683" sldId="259"/>
        </pc:sldMkLst>
        <pc:spChg chg="mod">
          <ac:chgData name="Thomas Stensitzki" userId="75cafe6b-2f2a-469b-85c4-eec3b9c972ba" providerId="ADAL" clId="{2A9F7F8B-7CA8-41D0-9950-96EBBF552938}" dt="2021-06-30T12:12:05.952" v="3665" actId="1035"/>
          <ac:spMkLst>
            <pc:docMk/>
            <pc:sldMk cId="2756875683" sldId="259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37" v="720" actId="790"/>
          <ac:spMkLst>
            <pc:docMk/>
            <pc:sldMk cId="2756875683" sldId="259"/>
            <ac:spMk id="3" creationId="{00000000-0000-0000-0000-000000000000}"/>
          </ac:spMkLst>
        </pc:spChg>
        <pc:spChg chg="del mod">
          <ac:chgData name="Thomas Stensitzki" userId="75cafe6b-2f2a-469b-85c4-eec3b9c972ba" providerId="ADAL" clId="{2A9F7F8B-7CA8-41D0-9950-96EBBF552938}" dt="2021-06-30T12:12:13.967" v="3666" actId="478"/>
          <ac:spMkLst>
            <pc:docMk/>
            <pc:sldMk cId="2756875683" sldId="259"/>
            <ac:spMk id="8" creationId="{7C08ABE5-F255-4657-9558-C1FEBA17B443}"/>
          </ac:spMkLst>
        </pc:spChg>
      </pc:sldChg>
      <pc:sldChg chg="modSp add del mod modShow modNotes">
        <pc:chgData name="Thomas Stensitzki" userId="75cafe6b-2f2a-469b-85c4-eec3b9c972ba" providerId="ADAL" clId="{2A9F7F8B-7CA8-41D0-9950-96EBBF552938}" dt="2021-06-26T09:05:27.293" v="3157" actId="729"/>
        <pc:sldMkLst>
          <pc:docMk/>
          <pc:sldMk cId="3559981207" sldId="260"/>
        </pc:sldMkLst>
        <pc:spChg chg="mod">
          <ac:chgData name="Thomas Stensitzki" userId="75cafe6b-2f2a-469b-85c4-eec3b9c972ba" providerId="ADAL" clId="{2A9F7F8B-7CA8-41D0-9950-96EBBF552938}" dt="2021-06-12T11:19:58.663" v="727" actId="790"/>
          <ac:spMkLst>
            <pc:docMk/>
            <pc:sldMk cId="3559981207" sldId="260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65" v="729" actId="790"/>
          <ac:spMkLst>
            <pc:docMk/>
            <pc:sldMk cId="3559981207" sldId="260"/>
            <ac:spMk id="8" creationId="{7C08ABE5-F255-4657-9558-C1FEBA17B443}"/>
          </ac:spMkLst>
        </pc:spChg>
        <pc:spChg chg="mod">
          <ac:chgData name="Thomas Stensitzki" userId="75cafe6b-2f2a-469b-85c4-eec3b9c972ba" providerId="ADAL" clId="{2A9F7F8B-7CA8-41D0-9950-96EBBF552938}" dt="2021-06-12T11:19:58.664" v="728" actId="790"/>
          <ac:spMkLst>
            <pc:docMk/>
            <pc:sldMk cId="3559981207" sldId="260"/>
            <ac:spMk id="10" creationId="{B6C82018-3793-45F7-8433-BA8EB69B9852}"/>
          </ac:spMkLst>
        </pc:spChg>
      </pc:sldChg>
      <pc:sldChg chg="modSp del mod modNotes">
        <pc:chgData name="Thomas Stensitzki" userId="75cafe6b-2f2a-469b-85c4-eec3b9c972ba" providerId="ADAL" clId="{2A9F7F8B-7CA8-41D0-9950-96EBBF552938}" dt="2021-06-26T09:46:25.385" v="3282" actId="47"/>
        <pc:sldMkLst>
          <pc:docMk/>
          <pc:sldMk cId="1376673252" sldId="264"/>
        </pc:sldMkLst>
        <pc:spChg chg="mod">
          <ac:chgData name="Thomas Stensitzki" userId="75cafe6b-2f2a-469b-85c4-eec3b9c972ba" providerId="ADAL" clId="{2A9F7F8B-7CA8-41D0-9950-96EBBF552938}" dt="2021-06-12T11:19:58.690" v="745" actId="790"/>
          <ac:spMkLst>
            <pc:docMk/>
            <pc:sldMk cId="1376673252" sldId="264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90" v="744" actId="790"/>
          <ac:spMkLst>
            <pc:docMk/>
            <pc:sldMk cId="1376673252" sldId="264"/>
            <ac:spMk id="3" creationId="{16B48751-9520-4F91-8B07-E6E0A71C163F}"/>
          </ac:spMkLst>
        </pc:spChg>
      </pc:sldChg>
      <pc:sldChg chg="modSp mod modClrScheme chgLayout modNotes">
        <pc:chgData name="Thomas Stensitzki" userId="75cafe6b-2f2a-469b-85c4-eec3b9c972ba" providerId="ADAL" clId="{2A9F7F8B-7CA8-41D0-9950-96EBBF552938}" dt="2021-06-30T12:12:25.683" v="3672" actId="20577"/>
        <pc:sldMkLst>
          <pc:docMk/>
          <pc:sldMk cId="1569180637" sldId="265"/>
        </pc:sldMkLst>
        <pc:spChg chg="mod ord">
          <ac:chgData name="Thomas Stensitzki" userId="75cafe6b-2f2a-469b-85c4-eec3b9c972ba" providerId="ADAL" clId="{2A9F7F8B-7CA8-41D0-9950-96EBBF552938}" dt="2021-06-12T11:19:58.670" v="732" actId="790"/>
          <ac:spMkLst>
            <pc:docMk/>
            <pc:sldMk cId="1569180637" sldId="265"/>
            <ac:spMk id="2" creationId="{00000000-0000-0000-0000-000000000000}"/>
          </ac:spMkLst>
        </pc:spChg>
        <pc:spChg chg="mod ord">
          <ac:chgData name="Thomas Stensitzki" userId="75cafe6b-2f2a-469b-85c4-eec3b9c972ba" providerId="ADAL" clId="{2A9F7F8B-7CA8-41D0-9950-96EBBF552938}" dt="2021-06-30T12:12:25.683" v="3672" actId="20577"/>
          <ac:spMkLst>
            <pc:docMk/>
            <pc:sldMk cId="1569180637" sldId="265"/>
            <ac:spMk id="4" creationId="{C4F80CD9-4281-4C36-BA8A-9DD8EEC48425}"/>
          </ac:spMkLst>
        </pc:spChg>
      </pc:sldChg>
      <pc:sldChg chg="modSp del mod modNotes">
        <pc:chgData name="Thomas Stensitzki" userId="75cafe6b-2f2a-469b-85c4-eec3b9c972ba" providerId="ADAL" clId="{2A9F7F8B-7CA8-41D0-9950-96EBBF552938}" dt="2021-06-26T09:24:57.916" v="3264" actId="18676"/>
        <pc:sldMkLst>
          <pc:docMk/>
          <pc:sldMk cId="2620922712" sldId="266"/>
        </pc:sldMkLst>
        <pc:spChg chg="mod">
          <ac:chgData name="Thomas Stensitzki" userId="75cafe6b-2f2a-469b-85c4-eec3b9c972ba" providerId="ADAL" clId="{2A9F7F8B-7CA8-41D0-9950-96EBBF552938}" dt="2021-06-12T11:19:58.717" v="760" actId="790"/>
          <ac:spMkLst>
            <pc:docMk/>
            <pc:sldMk cId="2620922712" sldId="266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19" v="762" actId="790"/>
          <ac:spMkLst>
            <pc:docMk/>
            <pc:sldMk cId="2620922712" sldId="266"/>
            <ac:spMk id="5" creationId="{6AD7F85D-6D2E-4727-ACB6-F8F34F6E1995}"/>
          </ac:spMkLst>
        </pc:spChg>
        <pc:spChg chg="mod">
          <ac:chgData name="Thomas Stensitzki" userId="75cafe6b-2f2a-469b-85c4-eec3b9c972ba" providerId="ADAL" clId="{2A9F7F8B-7CA8-41D0-9950-96EBBF552938}" dt="2021-06-12T11:19:58.718" v="761" actId="790"/>
          <ac:spMkLst>
            <pc:docMk/>
            <pc:sldMk cId="2620922712" sldId="266"/>
            <ac:spMk id="10" creationId="{B6C82018-3793-45F7-8433-BA8EB69B9852}"/>
          </ac:spMkLst>
        </pc:spChg>
      </pc:sldChg>
      <pc:sldChg chg="modSp del mod modNotes">
        <pc:chgData name="Thomas Stensitzki" userId="75cafe6b-2f2a-469b-85c4-eec3b9c972ba" providerId="ADAL" clId="{2A9F7F8B-7CA8-41D0-9950-96EBBF552938}" dt="2021-06-26T09:24:57.916" v="3264" actId="18676"/>
        <pc:sldMkLst>
          <pc:docMk/>
          <pc:sldMk cId="2917785072" sldId="267"/>
        </pc:sldMkLst>
        <pc:spChg chg="mod">
          <ac:chgData name="Thomas Stensitzki" userId="75cafe6b-2f2a-469b-85c4-eec3b9c972ba" providerId="ADAL" clId="{2A9F7F8B-7CA8-41D0-9950-96EBBF552938}" dt="2021-06-12T11:19:58.705" v="756" actId="790"/>
          <ac:spMkLst>
            <pc:docMk/>
            <pc:sldMk cId="2917785072" sldId="267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11" v="757" actId="790"/>
          <ac:spMkLst>
            <pc:docMk/>
            <pc:sldMk cId="2917785072" sldId="267"/>
            <ac:spMk id="10" creationId="{B6C82018-3793-45F7-8433-BA8EB69B9852}"/>
          </ac:spMkLst>
        </pc:spChg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871499924" sldId="268"/>
        </pc:sldMkLst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180275278" sldId="281"/>
        </pc:sldMkLst>
      </pc:sldChg>
      <pc:sldChg chg="addSp modSp mod modNotes">
        <pc:chgData name="Thomas Stensitzki" userId="75cafe6b-2f2a-469b-85c4-eec3b9c972ba" providerId="ADAL" clId="{2A9F7F8B-7CA8-41D0-9950-96EBBF552938}" dt="2021-06-26T10:05:13.531" v="3462" actId="20577"/>
        <pc:sldMkLst>
          <pc:docMk/>
          <pc:sldMk cId="2454068511" sldId="282"/>
        </pc:sldMkLst>
        <pc:spChg chg="add mod">
          <ac:chgData name="Thomas Stensitzki" userId="75cafe6b-2f2a-469b-85c4-eec3b9c972ba" providerId="ADAL" clId="{2A9F7F8B-7CA8-41D0-9950-96EBBF552938}" dt="2021-06-26T10:05:13.531" v="3462" actId="20577"/>
          <ac:spMkLst>
            <pc:docMk/>
            <pc:sldMk cId="2454068511" sldId="282"/>
            <ac:spMk id="2" creationId="{54E5FDB5-346C-471F-8351-70738465B4EC}"/>
          </ac:spMkLst>
        </pc:spChg>
        <pc:picChg chg="add mod">
          <ac:chgData name="Thomas Stensitzki" userId="75cafe6b-2f2a-469b-85c4-eec3b9c972ba" providerId="ADAL" clId="{2A9F7F8B-7CA8-41D0-9950-96EBBF552938}" dt="2021-06-12T11:11:28.552" v="22" actId="1076"/>
          <ac:picMkLst>
            <pc:docMk/>
            <pc:sldMk cId="2454068511" sldId="282"/>
            <ac:picMk id="3" creationId="{6356826F-9AD4-4296-A087-B7EC209468E7}"/>
          </ac:picMkLst>
        </pc:picChg>
        <pc:picChg chg="add mod">
          <ac:chgData name="Thomas Stensitzki" userId="75cafe6b-2f2a-469b-85c4-eec3b9c972ba" providerId="ADAL" clId="{2A9F7F8B-7CA8-41D0-9950-96EBBF552938}" dt="2021-06-12T11:11:23.209" v="21" actId="1076"/>
          <ac:picMkLst>
            <pc:docMk/>
            <pc:sldMk cId="2454068511" sldId="282"/>
            <ac:picMk id="4" creationId="{99A4F69E-EE37-4542-B33E-487B2CCDCC2A}"/>
          </ac:picMkLst>
        </pc:picChg>
        <pc:picChg chg="add mod">
          <ac:chgData name="Thomas Stensitzki" userId="75cafe6b-2f2a-469b-85c4-eec3b9c972ba" providerId="ADAL" clId="{2A9F7F8B-7CA8-41D0-9950-96EBBF552938}" dt="2021-06-12T11:11:23.209" v="21" actId="1076"/>
          <ac:picMkLst>
            <pc:docMk/>
            <pc:sldMk cId="2454068511" sldId="282"/>
            <ac:picMk id="5" creationId="{6BC7B4DE-FA74-4DE4-A0BB-5A9AEF71D1AF}"/>
          </ac:picMkLst>
        </pc:picChg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210114350" sldId="283"/>
        </pc:sldMkLst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2198005784" sldId="284"/>
        </pc:sldMkLst>
      </pc:sldChg>
      <pc:sldChg chg="modSp add del">
        <pc:chgData name="Thomas Stensitzki" userId="75cafe6b-2f2a-469b-85c4-eec3b9c972ba" providerId="ADAL" clId="{2A9F7F8B-7CA8-41D0-9950-96EBBF552938}" dt="2021-06-26T09:24:30.695" v="3259" actId="12"/>
        <pc:sldMkLst>
          <pc:docMk/>
          <pc:sldMk cId="40340443" sldId="285"/>
        </pc:sldMkLst>
        <pc:spChg chg="mod">
          <ac:chgData name="Thomas Stensitzki" userId="75cafe6b-2f2a-469b-85c4-eec3b9c972ba" providerId="ADAL" clId="{2A9F7F8B-7CA8-41D0-9950-96EBBF552938}" dt="2021-06-26T09:24:30.695" v="3259" actId="12"/>
          <ac:spMkLst>
            <pc:docMk/>
            <pc:sldMk cId="40340443" sldId="285"/>
            <ac:spMk id="4" creationId="{6411B533-F2B7-4068-821E-FFEA9877E734}"/>
          </ac:spMkLst>
        </pc:spChg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03361362" sldId="286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526205174" sldId="287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4203800862" sldId="288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834432234" sldId="289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249897608" sldId="290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511165670" sldId="291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10827937" sldId="292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351328909" sldId="293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276571334" sldId="294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424035884" sldId="295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619982522" sldId="296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895348186" sldId="297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496815036" sldId="298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90751286" sldId="299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014693185" sldId="300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320160172" sldId="301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397795474" sldId="302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632485574" sldId="303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71604094" sldId="304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486470369" sldId="305"/>
        </pc:sldMkLst>
      </pc:sldChg>
      <pc:sldChg chg="addSp delSp modSp new mod modClrScheme modAnim chgLayout modNotes">
        <pc:chgData name="Thomas Stensitzki" userId="75cafe6b-2f2a-469b-85c4-eec3b9c972ba" providerId="ADAL" clId="{2A9F7F8B-7CA8-41D0-9950-96EBBF552938}" dt="2021-06-26T09:24:21.891" v="3257" actId="12"/>
        <pc:sldMkLst>
          <pc:docMk/>
          <pc:sldMk cId="3353654643" sldId="306"/>
        </pc:sldMkLst>
        <pc:spChg chg="del mod ord">
          <ac:chgData name="Thomas Stensitzki" userId="75cafe6b-2f2a-469b-85c4-eec3b9c972ba" providerId="ADAL" clId="{2A9F7F8B-7CA8-41D0-9950-96EBBF552938}" dt="2021-06-12T11:12:16.949" v="72" actId="700"/>
          <ac:spMkLst>
            <pc:docMk/>
            <pc:sldMk cId="3353654643" sldId="306"/>
            <ac:spMk id="2" creationId="{14984E96-88F1-44C7-BC97-046547EA909D}"/>
          </ac:spMkLst>
        </pc:spChg>
        <pc:spChg chg="del mod ord">
          <ac:chgData name="Thomas Stensitzki" userId="75cafe6b-2f2a-469b-85c4-eec3b9c972ba" providerId="ADAL" clId="{2A9F7F8B-7CA8-41D0-9950-96EBBF552938}" dt="2021-06-12T11:12:16.949" v="72" actId="700"/>
          <ac:spMkLst>
            <pc:docMk/>
            <pc:sldMk cId="3353654643" sldId="306"/>
            <ac:spMk id="3" creationId="{32F264A0-CB29-4F12-A662-CF30B0DD749C}"/>
          </ac:spMkLst>
        </pc:spChg>
        <pc:spChg chg="add mod ord">
          <ac:chgData name="Thomas Stensitzki" userId="75cafe6b-2f2a-469b-85c4-eec3b9c972ba" providerId="ADAL" clId="{2A9F7F8B-7CA8-41D0-9950-96EBBF552938}" dt="2021-06-12T11:19:58.679" v="737" actId="790"/>
          <ac:spMkLst>
            <pc:docMk/>
            <pc:sldMk cId="3353654643" sldId="306"/>
            <ac:spMk id="4" creationId="{91C82375-EAE6-497D-9F53-BD5A6F887DAD}"/>
          </ac:spMkLst>
        </pc:spChg>
        <pc:spChg chg="add mod ord">
          <ac:chgData name="Thomas Stensitzki" userId="75cafe6b-2f2a-469b-85c4-eec3b9c972ba" providerId="ADAL" clId="{2A9F7F8B-7CA8-41D0-9950-96EBBF552938}" dt="2021-06-26T09:24:21.891" v="3257" actId="12"/>
          <ac:spMkLst>
            <pc:docMk/>
            <pc:sldMk cId="3353654643" sldId="306"/>
            <ac:spMk id="5" creationId="{E31791B9-B4AE-4A5B-A1DC-8362759E76E4}"/>
          </ac:spMkLst>
        </pc:spChg>
        <pc:spChg chg="mod topLvl">
          <ac:chgData name="Thomas Stensitzki" userId="75cafe6b-2f2a-469b-85c4-eec3b9c972ba" providerId="ADAL" clId="{2A9F7F8B-7CA8-41D0-9950-96EBBF552938}" dt="2021-06-26T09:18:06.981" v="3224" actId="6549"/>
          <ac:spMkLst>
            <pc:docMk/>
            <pc:sldMk cId="3353654643" sldId="306"/>
            <ac:spMk id="7" creationId="{9F0327FB-23C0-4446-8D33-5926DA2AC3B0}"/>
          </ac:spMkLst>
        </pc:spChg>
        <pc:grpChg chg="add del mod">
          <ac:chgData name="Thomas Stensitzki" userId="75cafe6b-2f2a-469b-85c4-eec3b9c972ba" providerId="ADAL" clId="{2A9F7F8B-7CA8-41D0-9950-96EBBF552938}" dt="2021-06-12T11:18:50.412" v="686" actId="165"/>
          <ac:grpSpMkLst>
            <pc:docMk/>
            <pc:sldMk cId="3353654643" sldId="306"/>
            <ac:grpSpMk id="6" creationId="{D4DBC2F5-6CBC-4B49-A7D2-76C65214B2C2}"/>
          </ac:grpSpMkLst>
        </pc:grpChg>
        <pc:grpChg chg="add mod">
          <ac:chgData name="Thomas Stensitzki" userId="75cafe6b-2f2a-469b-85c4-eec3b9c972ba" providerId="ADAL" clId="{2A9F7F8B-7CA8-41D0-9950-96EBBF552938}" dt="2021-06-12T11:19:02.995" v="688" actId="1076"/>
          <ac:grpSpMkLst>
            <pc:docMk/>
            <pc:sldMk cId="3353654643" sldId="306"/>
            <ac:grpSpMk id="9" creationId="{E8EBC097-5AC3-4B9C-915F-AEF2D03BAC2F}"/>
          </ac:grpSpMkLst>
        </pc:grpChg>
        <pc:picChg chg="mod topLvl">
          <ac:chgData name="Thomas Stensitzki" userId="75cafe6b-2f2a-469b-85c4-eec3b9c972ba" providerId="ADAL" clId="{2A9F7F8B-7CA8-41D0-9950-96EBBF552938}" dt="2021-06-12T11:18:55.625" v="687" actId="164"/>
          <ac:picMkLst>
            <pc:docMk/>
            <pc:sldMk cId="3353654643" sldId="306"/>
            <ac:picMk id="8" creationId="{0F0BE358-9CB6-4650-AD96-7D128B547C0F}"/>
          </ac:picMkLst>
        </pc:picChg>
      </pc:sldChg>
      <pc:sldChg chg="addSp delSp modSp new mod modClrScheme modAnim chgLayout modNotes">
        <pc:chgData name="Thomas Stensitzki" userId="75cafe6b-2f2a-469b-85c4-eec3b9c972ba" providerId="ADAL" clId="{2A9F7F8B-7CA8-41D0-9950-96EBBF552938}" dt="2021-06-26T09:24:26.953" v="3258" actId="12"/>
        <pc:sldMkLst>
          <pc:docMk/>
          <pc:sldMk cId="3519098212" sldId="307"/>
        </pc:sldMkLst>
        <pc:spChg chg="del">
          <ac:chgData name="Thomas Stensitzki" userId="75cafe6b-2f2a-469b-85c4-eec3b9c972ba" providerId="ADAL" clId="{2A9F7F8B-7CA8-41D0-9950-96EBBF552938}" dt="2021-06-12T11:19:39.124" v="690" actId="700"/>
          <ac:spMkLst>
            <pc:docMk/>
            <pc:sldMk cId="3519098212" sldId="307"/>
            <ac:spMk id="2" creationId="{C8C41DDF-BE7E-422B-9DD7-4C2D476F32C0}"/>
          </ac:spMkLst>
        </pc:spChg>
        <pc:spChg chg="del mod ord">
          <ac:chgData name="Thomas Stensitzki" userId="75cafe6b-2f2a-469b-85c4-eec3b9c972ba" providerId="ADAL" clId="{2A9F7F8B-7CA8-41D0-9950-96EBBF552938}" dt="2021-06-12T11:19:39.124" v="690" actId="700"/>
          <ac:spMkLst>
            <pc:docMk/>
            <pc:sldMk cId="3519098212" sldId="307"/>
            <ac:spMk id="3" creationId="{0855A84E-A0AB-4BB3-B805-881A9FCCB8C3}"/>
          </ac:spMkLst>
        </pc:spChg>
        <pc:spChg chg="add mod ord">
          <ac:chgData name="Thomas Stensitzki" userId="75cafe6b-2f2a-469b-85c4-eec3b9c972ba" providerId="ADAL" clId="{2A9F7F8B-7CA8-41D0-9950-96EBBF552938}" dt="2021-06-12T11:20:27.556" v="782" actId="700"/>
          <ac:spMkLst>
            <pc:docMk/>
            <pc:sldMk cId="3519098212" sldId="307"/>
            <ac:spMk id="4" creationId="{33623BB1-5F61-4460-9C6E-344A32560EBF}"/>
          </ac:spMkLst>
        </pc:spChg>
        <pc:spChg chg="add mod ord">
          <ac:chgData name="Thomas Stensitzki" userId="75cafe6b-2f2a-469b-85c4-eec3b9c972ba" providerId="ADAL" clId="{2A9F7F8B-7CA8-41D0-9950-96EBBF552938}" dt="2021-06-26T09:24:26.953" v="3258" actId="12"/>
          <ac:spMkLst>
            <pc:docMk/>
            <pc:sldMk cId="3519098212" sldId="307"/>
            <ac:spMk id="5" creationId="{5A6FC373-A73D-4982-9EEE-DE30FCA6E3C9}"/>
          </ac:spMkLst>
        </pc:spChg>
        <pc:spChg chg="add mod">
          <ac:chgData name="Thomas Stensitzki" userId="75cafe6b-2f2a-469b-85c4-eec3b9c972ba" providerId="ADAL" clId="{2A9F7F8B-7CA8-41D0-9950-96EBBF552938}" dt="2021-06-26T09:19:57.862" v="3228" actId="1076"/>
          <ac:spMkLst>
            <pc:docMk/>
            <pc:sldMk cId="3519098212" sldId="307"/>
            <ac:spMk id="7" creationId="{1CAA72CE-A206-49B7-A22A-3E4DFF7E499D}"/>
          </ac:spMkLst>
        </pc:spChg>
        <pc:spChg chg="add mod">
          <ac:chgData name="Thomas Stensitzki" userId="75cafe6b-2f2a-469b-85c4-eec3b9c972ba" providerId="ADAL" clId="{2A9F7F8B-7CA8-41D0-9950-96EBBF552938}" dt="2021-06-26T09:20:05.022" v="3234" actId="1035"/>
          <ac:spMkLst>
            <pc:docMk/>
            <pc:sldMk cId="3519098212" sldId="307"/>
            <ac:spMk id="8" creationId="{E1C37B83-42F0-4081-BA6F-665AE36E5553}"/>
          </ac:spMkLst>
        </pc:spChg>
        <pc:picChg chg="add mod">
          <ac:chgData name="Thomas Stensitzki" userId="75cafe6b-2f2a-469b-85c4-eec3b9c972ba" providerId="ADAL" clId="{2A9F7F8B-7CA8-41D0-9950-96EBBF552938}" dt="2021-06-26T09:19:42.869" v="3226" actId="1076"/>
          <ac:picMkLst>
            <pc:docMk/>
            <pc:sldMk cId="3519098212" sldId="307"/>
            <ac:picMk id="6" creationId="{D1596EF1-5E43-4A1F-A123-539E11183CC0}"/>
          </ac:picMkLst>
        </pc:picChg>
      </pc:sldChg>
      <pc:sldChg chg="addSp delSp modSp new mod modClrScheme modAnim chgLayout">
        <pc:chgData name="Thomas Stensitzki" userId="75cafe6b-2f2a-469b-85c4-eec3b9c972ba" providerId="ADAL" clId="{2A9F7F8B-7CA8-41D0-9950-96EBBF552938}" dt="2021-06-26T09:23:27.694" v="3256" actId="113"/>
        <pc:sldMkLst>
          <pc:docMk/>
          <pc:sldMk cId="135159860" sldId="308"/>
        </pc:sldMkLst>
        <pc:spChg chg="del">
          <ac:chgData name="Thomas Stensitzki" userId="75cafe6b-2f2a-469b-85c4-eec3b9c972ba" providerId="ADAL" clId="{2A9F7F8B-7CA8-41D0-9950-96EBBF552938}" dt="2021-06-12T11:21:58.079" v="936" actId="700"/>
          <ac:spMkLst>
            <pc:docMk/>
            <pc:sldMk cId="135159860" sldId="308"/>
            <ac:spMk id="2" creationId="{8D081A6F-2D8F-4E6E-9891-4F905F2F784C}"/>
          </ac:spMkLst>
        </pc:spChg>
        <pc:spChg chg="mod ord">
          <ac:chgData name="Thomas Stensitzki" userId="75cafe6b-2f2a-469b-85c4-eec3b9c972ba" providerId="ADAL" clId="{2A9F7F8B-7CA8-41D0-9950-96EBBF552938}" dt="2021-06-26T09:22:54.431" v="3253" actId="20577"/>
          <ac:spMkLst>
            <pc:docMk/>
            <pc:sldMk cId="135159860" sldId="308"/>
            <ac:spMk id="3" creationId="{5BCF647F-140D-4812-B695-3B477F1DEF44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4" creationId="{CAB63732-0921-491F-9A2C-C647CED9451B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5" creationId="{69178C92-87B5-448E-915D-7C7751650535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6" creationId="{1F5A31C3-D5B9-45D5-A285-56DEA352B6B6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7" creationId="{40137520-C362-42A8-8FDA-F93747C56E9C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8" creationId="{B67A62EA-7678-4584-9BAA-2964B13CA576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9" creationId="{8CDAA1AD-0CD8-43B7-BAAC-CB36B91FD082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0" creationId="{13D8CE29-2F33-4CF9-BCD5-2D2D64D48FA3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1" creationId="{6A143A59-8CB5-4EA5-A857-CB84FFFA8C29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4" creationId="{7305FDD7-7CDE-4B36-B63E-EEF48C4C23C6}"/>
          </ac:spMkLst>
        </pc:spChg>
        <pc:spChg chg="add mod">
          <ac:chgData name="Thomas Stensitzki" userId="75cafe6b-2f2a-469b-85c4-eec3b9c972ba" providerId="ADAL" clId="{2A9F7F8B-7CA8-41D0-9950-96EBBF552938}" dt="2021-06-26T09:23:19.930" v="3254" actId="113"/>
          <ac:spMkLst>
            <pc:docMk/>
            <pc:sldMk cId="135159860" sldId="308"/>
            <ac:spMk id="23" creationId="{4FDBAFBD-F4FD-40A6-8270-E009771F7FB4}"/>
          </ac:spMkLst>
        </pc:spChg>
        <pc:spChg chg="add mod">
          <ac:chgData name="Thomas Stensitzki" userId="75cafe6b-2f2a-469b-85c4-eec3b9c972ba" providerId="ADAL" clId="{2A9F7F8B-7CA8-41D0-9950-96EBBF552938}" dt="2021-06-26T09:23:24.287" v="3255" actId="113"/>
          <ac:spMkLst>
            <pc:docMk/>
            <pc:sldMk cId="135159860" sldId="308"/>
            <ac:spMk id="24" creationId="{C3A0C2E6-1889-4747-88FD-B1405FE66A70}"/>
          </ac:spMkLst>
        </pc:spChg>
        <pc:spChg chg="add mod">
          <ac:chgData name="Thomas Stensitzki" userId="75cafe6b-2f2a-469b-85c4-eec3b9c972ba" providerId="ADAL" clId="{2A9F7F8B-7CA8-41D0-9950-96EBBF552938}" dt="2021-06-26T09:23:27.694" v="3256" actId="113"/>
          <ac:spMkLst>
            <pc:docMk/>
            <pc:sldMk cId="135159860" sldId="308"/>
            <ac:spMk id="25" creationId="{CF32733B-6C7D-4625-8A72-500A9E230E9C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26" creationId="{CF6F0DB1-143E-4B2E-ACFD-887C1B565B0A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32" creationId="{21290FA4-3C92-4122-8C96-4BACFF08E1E3}"/>
          </ac:spMkLst>
        </pc:sp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7" creationId="{26D6F219-624F-4229-BAE2-94EF34E1FC99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8" creationId="{96573ADB-0B5E-4567-9F70-D0BC869603BA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9" creationId="{5E8C4643-D8E7-4680-9BB8-32901409BDBA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7" creationId="{E2386A0B-8486-4DF5-B6ED-9082032A4305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8" creationId="{2C835D62-590F-4A12-A8E6-5B5DE58DE1C1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9" creationId="{D73B806F-F11D-43F8-9F9D-2FA1BF91A3A0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30" creationId="{20609195-BB4B-4DC8-9D53-E19625C5CCDC}"/>
          </ac:picMkLst>
        </pc:pic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2" creationId="{72D423E8-DA8C-44BD-B3DB-1005546615FB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3" creationId="{CB1CEF64-8607-41FF-90A8-022D9B5B8616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5" creationId="{6AB310FC-3F10-4858-AEF4-C66D86A18B12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6" creationId="{46D2E835-827F-432D-9539-BEC7072E4AC1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0" creationId="{3E422625-2385-443E-A3EE-1B7931D34646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1" creationId="{DCD73E32-3B3A-48B2-B5DF-C5E12005A187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2" creationId="{8462924A-C23A-45BA-AE98-705CFBCED271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31" creationId="{5C600CC3-FE88-4363-953F-4443CF40AD45}"/>
          </ac:cxnSpMkLst>
        </pc:cxnChg>
      </pc:sldChg>
      <pc:sldChg chg="addSp delSp modSp new mod modClrScheme modAnim chgLayout modNotesTx">
        <pc:chgData name="Thomas Stensitzki" userId="75cafe6b-2f2a-469b-85c4-eec3b9c972ba" providerId="ADAL" clId="{2A9F7F8B-7CA8-41D0-9950-96EBBF552938}" dt="2021-06-26T09:50:05.761" v="3315" actId="20577"/>
        <pc:sldMkLst>
          <pc:docMk/>
          <pc:sldMk cId="975031739" sldId="309"/>
        </pc:sldMkLst>
        <pc:spChg chg="del mod ord">
          <ac:chgData name="Thomas Stensitzki" userId="75cafe6b-2f2a-469b-85c4-eec3b9c972ba" providerId="ADAL" clId="{2A9F7F8B-7CA8-41D0-9950-96EBBF552938}" dt="2021-06-12T11:23:14.952" v="958" actId="700"/>
          <ac:spMkLst>
            <pc:docMk/>
            <pc:sldMk cId="975031739" sldId="309"/>
            <ac:spMk id="2" creationId="{A9DEB9F3-2E76-4F80-BA02-9A53631AC993}"/>
          </ac:spMkLst>
        </pc:spChg>
        <pc:spChg chg="add mod ord">
          <ac:chgData name="Thomas Stensitzki" userId="75cafe6b-2f2a-469b-85c4-eec3b9c972ba" providerId="ADAL" clId="{2A9F7F8B-7CA8-41D0-9950-96EBBF552938}" dt="2021-06-12T11:23:37.173" v="990" actId="20577"/>
          <ac:spMkLst>
            <pc:docMk/>
            <pc:sldMk cId="975031739" sldId="309"/>
            <ac:spMk id="3" creationId="{8DE3B0F4-9E2B-4AE7-BA43-95D75DC35653}"/>
          </ac:spMkLst>
        </pc:spChg>
        <pc:spChg chg="add mod ord">
          <ac:chgData name="Thomas Stensitzki" userId="75cafe6b-2f2a-469b-85c4-eec3b9c972ba" providerId="ADAL" clId="{2A9F7F8B-7CA8-41D0-9950-96EBBF552938}" dt="2021-06-26T09:49:33.243" v="3298"/>
          <ac:spMkLst>
            <pc:docMk/>
            <pc:sldMk cId="975031739" sldId="309"/>
            <ac:spMk id="4" creationId="{501F1953-F857-4EBC-A7D2-77D82DCC8E57}"/>
          </ac:spMkLst>
        </pc:spChg>
        <pc:picChg chg="add mod">
          <ac:chgData name="Thomas Stensitzki" userId="75cafe6b-2f2a-469b-85c4-eec3b9c972ba" providerId="ADAL" clId="{2A9F7F8B-7CA8-41D0-9950-96EBBF552938}" dt="2021-06-12T11:29:49.193" v="1486" actId="1076"/>
          <ac:picMkLst>
            <pc:docMk/>
            <pc:sldMk cId="975031739" sldId="309"/>
            <ac:picMk id="5" creationId="{997B6BA6-4BEE-440C-99D1-2D9FE8018455}"/>
          </ac:picMkLst>
        </pc:picChg>
        <pc:picChg chg="add mod">
          <ac:chgData name="Thomas Stensitzki" userId="75cafe6b-2f2a-469b-85c4-eec3b9c972ba" providerId="ADAL" clId="{2A9F7F8B-7CA8-41D0-9950-96EBBF552938}" dt="2021-06-12T11:29:55.739" v="1488" actId="1076"/>
          <ac:picMkLst>
            <pc:docMk/>
            <pc:sldMk cId="975031739" sldId="309"/>
            <ac:picMk id="6" creationId="{81FE3F01-6EE6-4A27-9A7F-430E4F6B3BF4}"/>
          </ac:picMkLst>
        </pc:picChg>
      </pc:sldChg>
      <pc:sldChg chg="modSp new mod modAnim">
        <pc:chgData name="Thomas Stensitzki" userId="75cafe6b-2f2a-469b-85c4-eec3b9c972ba" providerId="ADAL" clId="{2A9F7F8B-7CA8-41D0-9950-96EBBF552938}" dt="2021-06-26T09:52:05.445" v="3332" actId="20577"/>
        <pc:sldMkLst>
          <pc:docMk/>
          <pc:sldMk cId="383829643" sldId="310"/>
        </pc:sldMkLst>
        <pc:spChg chg="mod">
          <ac:chgData name="Thomas Stensitzki" userId="75cafe6b-2f2a-469b-85c4-eec3b9c972ba" providerId="ADAL" clId="{2A9F7F8B-7CA8-41D0-9950-96EBBF552938}" dt="2021-06-26T09:52:05.445" v="3332" actId="20577"/>
          <ac:spMkLst>
            <pc:docMk/>
            <pc:sldMk cId="383829643" sldId="310"/>
            <ac:spMk id="2" creationId="{CBB5E2E0-53AD-4D93-A0E9-EA7B09996D09}"/>
          </ac:spMkLst>
        </pc:spChg>
        <pc:spChg chg="mod">
          <ac:chgData name="Thomas Stensitzki" userId="75cafe6b-2f2a-469b-85c4-eec3b9c972ba" providerId="ADAL" clId="{2A9F7F8B-7CA8-41D0-9950-96EBBF552938}" dt="2021-06-26T09:51:33.426" v="3328" actId="20577"/>
          <ac:spMkLst>
            <pc:docMk/>
            <pc:sldMk cId="383829643" sldId="310"/>
            <ac:spMk id="3" creationId="{68B98ADE-BA4A-4467-964D-EA252F188F72}"/>
          </ac:spMkLst>
        </pc:spChg>
      </pc:sldChg>
      <pc:sldChg chg="addSp modSp new add del mod modClrScheme chgLayout">
        <pc:chgData name="Thomas Stensitzki" userId="75cafe6b-2f2a-469b-85c4-eec3b9c972ba" providerId="ADAL" clId="{2A9F7F8B-7CA8-41D0-9950-96EBBF552938}" dt="2021-06-26T09:25:15.402" v="3267" actId="12"/>
        <pc:sldMkLst>
          <pc:docMk/>
          <pc:sldMk cId="2844990165" sldId="311"/>
        </pc:sldMkLst>
        <pc:spChg chg="add mod">
          <ac:chgData name="Thomas Stensitzki" userId="75cafe6b-2f2a-469b-85c4-eec3b9c972ba" providerId="ADAL" clId="{2A9F7F8B-7CA8-41D0-9950-96EBBF552938}" dt="2021-06-12T11:35:09.446" v="1797" actId="20577"/>
          <ac:spMkLst>
            <pc:docMk/>
            <pc:sldMk cId="2844990165" sldId="311"/>
            <ac:spMk id="2" creationId="{AAF1A7EC-6A32-4199-BF58-37DC1A634E59}"/>
          </ac:spMkLst>
        </pc:spChg>
        <pc:spChg chg="add mod">
          <ac:chgData name="Thomas Stensitzki" userId="75cafe6b-2f2a-469b-85c4-eec3b9c972ba" providerId="ADAL" clId="{2A9F7F8B-7CA8-41D0-9950-96EBBF552938}" dt="2021-06-26T09:25:15.402" v="3267" actId="12"/>
          <ac:spMkLst>
            <pc:docMk/>
            <pc:sldMk cId="2844990165" sldId="311"/>
            <ac:spMk id="3" creationId="{DEC48B9D-1EC4-4ACF-9074-730242A4E65B}"/>
          </ac:spMkLst>
        </pc:spChg>
      </pc:sldChg>
      <pc:sldChg chg="modSp add mod modAnim">
        <pc:chgData name="Thomas Stensitzki" userId="75cafe6b-2f2a-469b-85c4-eec3b9c972ba" providerId="ADAL" clId="{2A9F7F8B-7CA8-41D0-9950-96EBBF552938}" dt="2021-06-26T09:52:47.550" v="3345"/>
        <pc:sldMkLst>
          <pc:docMk/>
          <pc:sldMk cId="711227276" sldId="312"/>
        </pc:sldMkLst>
        <pc:spChg chg="mod">
          <ac:chgData name="Thomas Stensitzki" userId="75cafe6b-2f2a-469b-85c4-eec3b9c972ba" providerId="ADAL" clId="{2A9F7F8B-7CA8-41D0-9950-96EBBF552938}" dt="2021-06-26T09:52:33.911" v="3343" actId="6549"/>
          <ac:spMkLst>
            <pc:docMk/>
            <pc:sldMk cId="711227276" sldId="312"/>
            <ac:spMk id="2" creationId="{CBB5E2E0-53AD-4D93-A0E9-EA7B09996D09}"/>
          </ac:spMkLst>
        </pc:spChg>
        <pc:spChg chg="mod">
          <ac:chgData name="Thomas Stensitzki" userId="75cafe6b-2f2a-469b-85c4-eec3b9c972ba" providerId="ADAL" clId="{2A9F7F8B-7CA8-41D0-9950-96EBBF552938}" dt="2021-06-26T09:52:20.255" v="3337" actId="20577"/>
          <ac:spMkLst>
            <pc:docMk/>
            <pc:sldMk cId="711227276" sldId="312"/>
            <ac:spMk id="3" creationId="{68B98ADE-BA4A-4467-964D-EA252F188F72}"/>
          </ac:spMkLst>
        </pc:spChg>
      </pc:sldChg>
      <pc:sldChg chg="addSp delSp modSp new mod modClrScheme modAnim chgLayout">
        <pc:chgData name="Thomas Stensitzki" userId="75cafe6b-2f2a-469b-85c4-eec3b9c972ba" providerId="ADAL" clId="{2A9F7F8B-7CA8-41D0-9950-96EBBF552938}" dt="2021-06-26T09:55:19.454" v="3373"/>
        <pc:sldMkLst>
          <pc:docMk/>
          <pc:sldMk cId="990690034" sldId="313"/>
        </pc:sldMkLst>
        <pc:spChg chg="del">
          <ac:chgData name="Thomas Stensitzki" userId="75cafe6b-2f2a-469b-85c4-eec3b9c972ba" providerId="ADAL" clId="{2A9F7F8B-7CA8-41D0-9950-96EBBF552938}" dt="2021-06-12T11:47:23.763" v="2907" actId="700"/>
          <ac:spMkLst>
            <pc:docMk/>
            <pc:sldMk cId="990690034" sldId="313"/>
            <ac:spMk id="2" creationId="{8F27195C-2370-4B25-856E-880308263573}"/>
          </ac:spMkLst>
        </pc:spChg>
        <pc:spChg chg="del mod ord">
          <ac:chgData name="Thomas Stensitzki" userId="75cafe6b-2f2a-469b-85c4-eec3b9c972ba" providerId="ADAL" clId="{2A9F7F8B-7CA8-41D0-9950-96EBBF552938}" dt="2021-06-12T11:47:23.763" v="2907" actId="700"/>
          <ac:spMkLst>
            <pc:docMk/>
            <pc:sldMk cId="990690034" sldId="313"/>
            <ac:spMk id="3" creationId="{75227420-5272-45DB-A911-E6D7DB2964BF}"/>
          </ac:spMkLst>
        </pc:spChg>
        <pc:spChg chg="add mod ord">
          <ac:chgData name="Thomas Stensitzki" userId="75cafe6b-2f2a-469b-85c4-eec3b9c972ba" providerId="ADAL" clId="{2A9F7F8B-7CA8-41D0-9950-96EBBF552938}" dt="2021-06-12T11:47:40.329" v="2954" actId="20577"/>
          <ac:spMkLst>
            <pc:docMk/>
            <pc:sldMk cId="990690034" sldId="313"/>
            <ac:spMk id="4" creationId="{BD981757-D8B6-47C3-A622-F8EEA7B04CA0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5" creationId="{83ADE585-933E-4957-9C57-0A556A53A15C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6" creationId="{2683C791-70E9-4053-B670-AF9EFE317572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0" creationId="{CCDB0355-E827-456F-9BA9-2953A5EB0C6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2" creationId="{0688D5D3-329C-4531-9EE6-A747B6C2F32E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3" creationId="{295734A0-2E3D-4A6E-8BBF-034A8C590984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4" creationId="{08AA1D4D-E9DE-40FF-A679-91EAD10AE68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5" creationId="{B5910026-B002-4EF7-ACBA-62184AA0747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6" creationId="{0B9802A2-C2C1-4CCA-A4A2-28709A108D8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7" creationId="{543A206B-6E69-445D-AFE2-5EB200C34D40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8" creationId="{90146D5E-F039-4D9E-B798-89954F6BCDDF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9" creationId="{B26A0885-7B5F-4FAE-B659-FE8C41A26511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27" creationId="{D4973901-9302-49A7-ABAC-FE932D7242FE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0" creationId="{FEF16EC5-5DA9-470F-B12D-423DAA31399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1" creationId="{05B8F6CB-501B-4318-AC80-03D4138140CD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3" creationId="{627237EB-341A-4D23-9966-76721F216DE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4" creationId="{4ABD0EDD-F9B4-4557-8E88-7B3C5761227F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5" creationId="{3CF8879B-AE70-4B3D-A3D1-9ABED6524565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6" creationId="{6A094BBE-F197-4FA9-A0A3-304FC8DB385C}"/>
          </ac:spMkLst>
        </pc:spChg>
        <pc:spChg chg="add mod">
          <ac:chgData name="Thomas Stensitzki" userId="75cafe6b-2f2a-469b-85c4-eec3b9c972ba" providerId="ADAL" clId="{2A9F7F8B-7CA8-41D0-9950-96EBBF552938}" dt="2021-06-26T09:54:15.125" v="3354" actId="5793"/>
          <ac:spMkLst>
            <pc:docMk/>
            <pc:sldMk cId="990690034" sldId="313"/>
            <ac:spMk id="37" creationId="{6D21E820-D734-4DD4-8C94-C5331D6A2A9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8" creationId="{522F7CC6-2C3B-46A0-BBCF-30119A24AD5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9" creationId="{08E2E54E-B037-465F-AC7F-71CDF0B21417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0" creationId="{927BB645-27AD-43B6-B531-A6132EAA1B59}"/>
          </ac:spMkLst>
        </pc:spChg>
        <pc:spChg chg="add mod">
          <ac:chgData name="Thomas Stensitzki" userId="75cafe6b-2f2a-469b-85c4-eec3b9c972ba" providerId="ADAL" clId="{2A9F7F8B-7CA8-41D0-9950-96EBBF552938}" dt="2021-06-26T09:54:43.767" v="3355" actId="313"/>
          <ac:spMkLst>
            <pc:docMk/>
            <pc:sldMk cId="990690034" sldId="313"/>
            <ac:spMk id="41" creationId="{39E42E9D-4001-4DDA-82B7-274C7382EB7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2" creationId="{3A6AC99D-9903-457D-BB6D-791E7B8F2C3C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3" creationId="{4F7B2DCA-C6DE-4463-AC1D-E25F8DB22313}"/>
          </ac:spMkLst>
        </pc:spChg>
        <pc:spChg chg="add mod">
          <ac:chgData name="Thomas Stensitzki" userId="75cafe6b-2f2a-469b-85c4-eec3b9c972ba" providerId="ADAL" clId="{2A9F7F8B-7CA8-41D0-9950-96EBBF552938}" dt="2021-06-26T09:55:19.454" v="3373"/>
          <ac:spMkLst>
            <pc:docMk/>
            <pc:sldMk cId="990690034" sldId="313"/>
            <ac:spMk id="44" creationId="{8DCBEAED-5B67-44E5-82AB-11460B5DFC58}"/>
          </ac:spMkLst>
        </pc:sp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7" creationId="{4A0823ED-C2EE-487A-AE27-C930E63E37EE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8" creationId="{D0DBA9B9-2F76-41D2-9E62-4D0B17FA8942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9" creationId="{FDF66404-37DB-4873-A2D6-1BC902DB91AC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11" creationId="{D49C3549-931C-4351-9377-CF3CA8755636}"/>
          </ac:picMkLst>
        </pc:pic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0" creationId="{02338B48-0186-4C0B-B6E9-19FD3143193F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1" creationId="{777BC04F-4FFA-4A4B-8117-F14A02F9F773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2" creationId="{F00B835E-602E-4DFA-A8DE-F6B7B7938F1E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3" creationId="{CF50BEF0-3D60-412A-B9CA-F32C7CF10696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4" creationId="{2700FB22-9605-4109-9BCB-139748771BB6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5" creationId="{6860B508-40CF-4DF7-A56D-D00A38649404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6" creationId="{B2C06372-25E4-480E-ABFE-B6423C61E8DC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8" creationId="{A0E3C7E6-E6C6-4F3A-AA9A-791073F4CD85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9" creationId="{FE636F78-DBEE-4777-8248-E3B4115E2402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32" creationId="{F8DCEE08-F256-49A6-9936-C59EF146CF73}"/>
          </ac:cxnSpMkLst>
        </pc:cxnChg>
      </pc:sldChg>
      <pc:sldChg chg="addSp delSp modSp new mod modClrScheme modAnim chgLayout">
        <pc:chgData name="Thomas Stensitzki" userId="75cafe6b-2f2a-469b-85c4-eec3b9c972ba" providerId="ADAL" clId="{2A9F7F8B-7CA8-41D0-9950-96EBBF552938}" dt="2021-06-26T10:04:17.709" v="3461" actId="20577"/>
        <pc:sldMkLst>
          <pc:docMk/>
          <pc:sldMk cId="3032023480" sldId="314"/>
        </pc:sldMkLst>
        <pc:spChg chg="mod ord">
          <ac:chgData name="Thomas Stensitzki" userId="75cafe6b-2f2a-469b-85c4-eec3b9c972ba" providerId="ADAL" clId="{2A9F7F8B-7CA8-41D0-9950-96EBBF552938}" dt="2021-06-12T11:48:25.606" v="2985" actId="700"/>
          <ac:spMkLst>
            <pc:docMk/>
            <pc:sldMk cId="3032023480" sldId="314"/>
            <ac:spMk id="2" creationId="{678B45B9-9DEB-49E2-A875-AF4FD82FB74E}"/>
          </ac:spMkLst>
        </pc:spChg>
        <pc:spChg chg="add del mod ord">
          <ac:chgData name="Thomas Stensitzki" userId="75cafe6b-2f2a-469b-85c4-eec3b9c972ba" providerId="ADAL" clId="{2A9F7F8B-7CA8-41D0-9950-96EBBF552938}" dt="2021-06-12T11:48:25.606" v="2985" actId="700"/>
          <ac:spMkLst>
            <pc:docMk/>
            <pc:sldMk cId="3032023480" sldId="314"/>
            <ac:spMk id="3" creationId="{0E391EC5-F153-45E8-A755-C0E7E9B9D381}"/>
          </ac:spMkLst>
        </pc:spChg>
        <pc:spChg chg="add mod ord">
          <ac:chgData name="Thomas Stensitzki" userId="75cafe6b-2f2a-469b-85c4-eec3b9c972ba" providerId="ADAL" clId="{2A9F7F8B-7CA8-41D0-9950-96EBBF552938}" dt="2021-06-26T10:04:17.709" v="3461" actId="20577"/>
          <ac:spMkLst>
            <pc:docMk/>
            <pc:sldMk cId="3032023480" sldId="314"/>
            <ac:spMk id="4" creationId="{BF138BBE-7C32-4117-8D90-5C34EE205803}"/>
          </ac:spMkLst>
        </pc:spChg>
        <pc:spChg chg="add del mod">
          <ac:chgData name="Thomas Stensitzki" userId="75cafe6b-2f2a-469b-85c4-eec3b9c972ba" providerId="ADAL" clId="{2A9F7F8B-7CA8-41D0-9950-96EBBF552938}" dt="2021-06-12T11:49:24.296" v="3147"/>
          <ac:spMkLst>
            <pc:docMk/>
            <pc:sldMk cId="3032023480" sldId="314"/>
            <ac:spMk id="6" creationId="{27CEA226-A2E8-43CB-ABD7-F41A9996397E}"/>
          </ac:spMkLst>
        </pc:spChg>
        <pc:spChg chg="add mod">
          <ac:chgData name="Thomas Stensitzki" userId="75cafe6b-2f2a-469b-85c4-eec3b9c972ba" providerId="ADAL" clId="{2A9F7F8B-7CA8-41D0-9950-96EBBF552938}" dt="2021-06-12T11:51:05.118" v="3148"/>
          <ac:spMkLst>
            <pc:docMk/>
            <pc:sldMk cId="3032023480" sldId="314"/>
            <ac:spMk id="8" creationId="{F660120D-A726-4281-9575-30793E626AAA}"/>
          </ac:spMkLst>
        </pc:spChg>
        <pc:picChg chg="add del mod">
          <ac:chgData name="Thomas Stensitzki" userId="75cafe6b-2f2a-469b-85c4-eec3b9c972ba" providerId="ADAL" clId="{2A9F7F8B-7CA8-41D0-9950-96EBBF552938}" dt="2021-06-12T11:49:24.296" v="3147"/>
          <ac:picMkLst>
            <pc:docMk/>
            <pc:sldMk cId="3032023480" sldId="314"/>
            <ac:picMk id="5" creationId="{921CDA51-F600-4CE8-B64B-FBE9E75A8290}"/>
          </ac:picMkLst>
        </pc:picChg>
        <pc:picChg chg="add mod">
          <ac:chgData name="Thomas Stensitzki" userId="75cafe6b-2f2a-469b-85c4-eec3b9c972ba" providerId="ADAL" clId="{2A9F7F8B-7CA8-41D0-9950-96EBBF552938}" dt="2021-06-12T11:51:17.096" v="3149" actId="1582"/>
          <ac:picMkLst>
            <pc:docMk/>
            <pc:sldMk cId="3032023480" sldId="314"/>
            <ac:picMk id="7" creationId="{93925ECA-1904-4F3C-9615-EDE57EEDD27C}"/>
          </ac:picMkLst>
        </pc:picChg>
      </pc:sldChg>
      <pc:sldChg chg="addSp delSp modSp add del mod">
        <pc:chgData name="Thomas Stensitzki" userId="75cafe6b-2f2a-469b-85c4-eec3b9c972ba" providerId="ADAL" clId="{2A9F7F8B-7CA8-41D0-9950-96EBBF552938}" dt="2021-06-26T09:04:50.068" v="3154" actId="2696"/>
        <pc:sldMkLst>
          <pc:docMk/>
          <pc:sldMk cId="1106677080" sldId="315"/>
        </pc:sldMkLst>
        <pc:spChg chg="del">
          <ac:chgData name="Thomas Stensitzki" userId="75cafe6b-2f2a-469b-85c4-eec3b9c972ba" providerId="ADAL" clId="{2A9F7F8B-7CA8-41D0-9950-96EBBF552938}" dt="2021-06-26T09:04:03.570" v="3151" actId="478"/>
          <ac:spMkLst>
            <pc:docMk/>
            <pc:sldMk cId="1106677080" sldId="315"/>
            <ac:spMk id="2" creationId="{00000000-0000-0000-0000-000000000000}"/>
          </ac:spMkLst>
        </pc:spChg>
        <pc:spChg chg="del">
          <ac:chgData name="Thomas Stensitzki" userId="75cafe6b-2f2a-469b-85c4-eec3b9c972ba" providerId="ADAL" clId="{2A9F7F8B-7CA8-41D0-9950-96EBBF552938}" dt="2021-06-26T09:04:08.299" v="3153" actId="478"/>
          <ac:spMkLst>
            <pc:docMk/>
            <pc:sldMk cId="1106677080" sldId="315"/>
            <ac:spMk id="3" creationId="{00000000-0000-0000-0000-000000000000}"/>
          </ac:spMkLst>
        </pc:spChg>
        <pc:spChg chg="add del mod">
          <ac:chgData name="Thomas Stensitzki" userId="75cafe6b-2f2a-469b-85c4-eec3b9c972ba" providerId="ADAL" clId="{2A9F7F8B-7CA8-41D0-9950-96EBBF552938}" dt="2021-06-26T09:04:06.181" v="3152" actId="478"/>
          <ac:spMkLst>
            <pc:docMk/>
            <pc:sldMk cId="1106677080" sldId="315"/>
            <ac:spMk id="5" creationId="{3ABC5AB1-9ECD-4D8E-A842-CCDA1DE22F65}"/>
          </ac:spMkLst>
        </pc:spChg>
        <pc:spChg chg="add mod">
          <ac:chgData name="Thomas Stensitzki" userId="75cafe6b-2f2a-469b-85c4-eec3b9c972ba" providerId="ADAL" clId="{2A9F7F8B-7CA8-41D0-9950-96EBBF552938}" dt="2021-06-26T09:04:08.299" v="3153" actId="478"/>
          <ac:spMkLst>
            <pc:docMk/>
            <pc:sldMk cId="1106677080" sldId="315"/>
            <ac:spMk id="9" creationId="{8F04B27B-0133-473B-8270-C378B4485413}"/>
          </ac:spMkLst>
        </pc:spChg>
      </pc:sldChg>
      <pc:sldChg chg="modSp add mod">
        <pc:chgData name="Thomas Stensitzki" userId="75cafe6b-2f2a-469b-85c4-eec3b9c972ba" providerId="ADAL" clId="{2A9F7F8B-7CA8-41D0-9950-96EBBF552938}" dt="2021-06-26T09:43:48.092" v="3275"/>
        <pc:sldMkLst>
          <pc:docMk/>
          <pc:sldMk cId="3473569513" sldId="315"/>
        </pc:sldMkLst>
        <pc:spChg chg="mod">
          <ac:chgData name="Thomas Stensitzki" userId="75cafe6b-2f2a-469b-85c4-eec3b9c972ba" providerId="ADAL" clId="{2A9F7F8B-7CA8-41D0-9950-96EBBF552938}" dt="2021-06-26T09:43:48.092" v="3275"/>
          <ac:spMkLst>
            <pc:docMk/>
            <pc:sldMk cId="3473569513" sldId="315"/>
            <ac:spMk id="3" creationId="{DEC48B9D-1EC4-4ACF-9074-730242A4E65B}"/>
          </ac:spMkLst>
        </pc:spChg>
      </pc:sldChg>
      <pc:sldChg chg="delSp add del mod ord">
        <pc:chgData name="Thomas Stensitzki" userId="75cafe6b-2f2a-469b-85c4-eec3b9c972ba" providerId="ADAL" clId="{2A9F7F8B-7CA8-41D0-9950-96EBBF552938}" dt="2021-06-26T09:46:28.990" v="3283" actId="47"/>
        <pc:sldMkLst>
          <pc:docMk/>
          <pc:sldMk cId="2104973396" sldId="316"/>
        </pc:sldMkLst>
        <pc:picChg chg="del">
          <ac:chgData name="Thomas Stensitzki" userId="75cafe6b-2f2a-469b-85c4-eec3b9c972ba" providerId="ADAL" clId="{2A9F7F8B-7CA8-41D0-9950-96EBBF552938}" dt="2021-06-26T09:44:53.901" v="3279" actId="478"/>
          <ac:picMkLst>
            <pc:docMk/>
            <pc:sldMk cId="2104973396" sldId="316"/>
            <ac:picMk id="4" creationId="{99A4F69E-EE37-4542-B33E-487B2CCDCC2A}"/>
          </ac:picMkLst>
        </pc:picChg>
        <pc:picChg chg="del">
          <ac:chgData name="Thomas Stensitzki" userId="75cafe6b-2f2a-469b-85c4-eec3b9c972ba" providerId="ADAL" clId="{2A9F7F8B-7CA8-41D0-9950-96EBBF552938}" dt="2021-06-26T09:44:54.392" v="3280" actId="478"/>
          <ac:picMkLst>
            <pc:docMk/>
            <pc:sldMk cId="2104973396" sldId="316"/>
            <ac:picMk id="5" creationId="{6BC7B4DE-FA74-4DE4-A0BB-5A9AEF71D1AF}"/>
          </ac:picMkLst>
        </pc:picChg>
      </pc:sldChg>
      <pc:sldChg chg="delSp modSp add mod setBg">
        <pc:chgData name="Thomas Stensitzki" userId="75cafe6b-2f2a-469b-85c4-eec3b9c972ba" providerId="ADAL" clId="{2A9F7F8B-7CA8-41D0-9950-96EBBF552938}" dt="2021-06-29T16:03:42.641" v="3632" actId="478"/>
        <pc:sldMkLst>
          <pc:docMk/>
          <pc:sldMk cId="712469293" sldId="317"/>
        </pc:sldMkLst>
        <pc:spChg chg="mod">
          <ac:chgData name="Thomas Stensitzki" userId="75cafe6b-2f2a-469b-85c4-eec3b9c972ba" providerId="ADAL" clId="{2A9F7F8B-7CA8-41D0-9950-96EBBF552938}" dt="2021-06-29T16:01:04.850" v="3469" actId="1076"/>
          <ac:spMkLst>
            <pc:docMk/>
            <pc:sldMk cId="712469293" sldId="317"/>
            <ac:spMk id="2" creationId="{00000000-0000-0000-0000-000000000000}"/>
          </ac:spMkLst>
        </pc:spChg>
        <pc:spChg chg="del">
          <ac:chgData name="Thomas Stensitzki" userId="75cafe6b-2f2a-469b-85c4-eec3b9c972ba" providerId="ADAL" clId="{2A9F7F8B-7CA8-41D0-9950-96EBBF552938}" dt="2021-06-29T16:03:42.641" v="3632" actId="478"/>
          <ac:spMkLst>
            <pc:docMk/>
            <pc:sldMk cId="712469293" sldId="317"/>
            <ac:spMk id="8" creationId="{8A9BCE4A-10BB-46F3-9164-E7998C61CFF9}"/>
          </ac:spMkLst>
        </pc:spChg>
        <pc:picChg chg="del">
          <ac:chgData name="Thomas Stensitzki" userId="75cafe6b-2f2a-469b-85c4-eec3b9c972ba" providerId="ADAL" clId="{2A9F7F8B-7CA8-41D0-9950-96EBBF552938}" dt="2021-06-29T16:03:37.912" v="3630" actId="478"/>
          <ac:picMkLst>
            <pc:docMk/>
            <pc:sldMk cId="712469293" sldId="317"/>
            <ac:picMk id="5" creationId="{4E5EFA26-BC83-4969-8BA3-55BCF3E95CD7}"/>
          </ac:picMkLst>
        </pc:picChg>
        <pc:picChg chg="del">
          <ac:chgData name="Thomas Stensitzki" userId="75cafe6b-2f2a-469b-85c4-eec3b9c972ba" providerId="ADAL" clId="{2A9F7F8B-7CA8-41D0-9950-96EBBF552938}" dt="2021-06-29T16:03:40.470" v="3631" actId="478"/>
          <ac:picMkLst>
            <pc:docMk/>
            <pc:sldMk cId="712469293" sldId="317"/>
            <ac:picMk id="7" creationId="{5D34F1ED-1994-45FE-8FCD-75CADA21BC2D}"/>
          </ac:picMkLst>
        </pc:picChg>
      </pc:sldChg>
      <pc:sldChg chg="addSp delSp modSp add mod">
        <pc:chgData name="Thomas Stensitzki" userId="75cafe6b-2f2a-469b-85c4-eec3b9c972ba" providerId="ADAL" clId="{2A9F7F8B-7CA8-41D0-9950-96EBBF552938}" dt="2021-06-29T16:02:47.782" v="3629" actId="20577"/>
        <pc:sldMkLst>
          <pc:docMk/>
          <pc:sldMk cId="4293773429" sldId="318"/>
        </pc:sldMkLst>
        <pc:spChg chg="mod">
          <ac:chgData name="Thomas Stensitzki" userId="75cafe6b-2f2a-469b-85c4-eec3b9c972ba" providerId="ADAL" clId="{2A9F7F8B-7CA8-41D0-9950-96EBBF552938}" dt="2021-06-29T16:02:47.782" v="3629" actId="20577"/>
          <ac:spMkLst>
            <pc:docMk/>
            <pc:sldMk cId="4293773429" sldId="318"/>
            <ac:spMk id="2" creationId="{54E5FDB5-346C-471F-8351-70738465B4EC}"/>
          </ac:spMkLst>
        </pc:spChg>
        <pc:picChg chg="del mod">
          <ac:chgData name="Thomas Stensitzki" userId="75cafe6b-2f2a-469b-85c4-eec3b9c972ba" providerId="ADAL" clId="{2A9F7F8B-7CA8-41D0-9950-96EBBF552938}" dt="2021-06-29T16:00:51.873" v="3466" actId="478"/>
          <ac:picMkLst>
            <pc:docMk/>
            <pc:sldMk cId="4293773429" sldId="318"/>
            <ac:picMk id="4" creationId="{99A4F69E-EE37-4542-B33E-487B2CCDCC2A}"/>
          </ac:picMkLst>
        </pc:picChg>
        <pc:picChg chg="del">
          <ac:chgData name="Thomas Stensitzki" userId="75cafe6b-2f2a-469b-85c4-eec3b9c972ba" providerId="ADAL" clId="{2A9F7F8B-7CA8-41D0-9950-96EBBF552938}" dt="2021-06-29T16:00:53.581" v="3467" actId="478"/>
          <ac:picMkLst>
            <pc:docMk/>
            <pc:sldMk cId="4293773429" sldId="318"/>
            <ac:picMk id="5" creationId="{6BC7B4DE-FA74-4DE4-A0BB-5A9AEF71D1AF}"/>
          </ac:picMkLst>
        </pc:picChg>
        <pc:picChg chg="add mod">
          <ac:chgData name="Thomas Stensitzki" userId="75cafe6b-2f2a-469b-85c4-eec3b9c972ba" providerId="ADAL" clId="{2A9F7F8B-7CA8-41D0-9950-96EBBF552938}" dt="2021-06-29T16:01:21.484" v="3471" actId="1076"/>
          <ac:picMkLst>
            <pc:docMk/>
            <pc:sldMk cId="4293773429" sldId="318"/>
            <ac:picMk id="6" creationId="{BEADE5E7-D7FD-4B96-B21E-379D16907BA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9FCCD18-D1D7-4057-9857-C2456AF22C8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FD105B-EF01-4927-A0BC-45605EBAE4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D9975-7846-4A39-9974-962F547A6318}" type="datetimeFigureOut">
              <a:rPr lang="en-US" smtClean="0"/>
              <a:t>6/30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30142F-589A-400C-A64C-8FA958F04EF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D69160-09F0-40DA-B839-1ADFD01253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EF71AE-536A-4F56-843E-D6F7E26D563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7000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2201DC-6240-4529-9EF2-D6F2146CF7D2}" type="datetimeFigureOut">
              <a:rPr lang="en-US" smtClean="0"/>
              <a:t>6/30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0D2BD6-CC7C-4920-B310-ECD70BA52CA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882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750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5837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4989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193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1880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8139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179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outlook.office365.com/autodiscover/autodiscover.json?Email=Toni.Test@varunagroup.de&amp;Protocol=EW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079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01213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0725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A9CBC44-5110-4C77-AFD9-71AF499D6733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4D68F5E-7A61-4E0F-936D-B208D20099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9E455AA-39AA-41D4-BA43-FA28EBDD7C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97C35A7-35E3-4AA2-BA37-13C49463C9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10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8CCD892-4EE3-409E-9FF2-9E19A623C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676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3467C7-AD88-4E35-911A-B84111C64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448" y="365125"/>
            <a:ext cx="9942022" cy="640715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de-DE" dirty="0"/>
              <a:t>Mastertitelformat bearbeite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937A59-FB19-442F-BB16-CD5F088C06C7}"/>
              </a:ext>
            </a:extLst>
          </p:cNvPr>
          <p:cNvGrpSpPr/>
          <p:nvPr userDrawn="1"/>
        </p:nvGrpSpPr>
        <p:grpSpPr>
          <a:xfrm>
            <a:off x="10432200" y="-11221"/>
            <a:ext cx="1759800" cy="6869221"/>
            <a:chOff x="10432200" y="-11221"/>
            <a:chExt cx="1759800" cy="6869221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D7C836F-4870-4C74-81CE-81B64239E9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566" t="10505"/>
            <a:stretch/>
          </p:blipFill>
          <p:spPr>
            <a:xfrm>
              <a:off x="10432203" y="-11221"/>
              <a:ext cx="1759797" cy="6869221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82F0F64-81A2-4FD0-81D8-0B375278E5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46" t="-108" r="33996"/>
            <a:stretch/>
          </p:blipFill>
          <p:spPr>
            <a:xfrm>
              <a:off x="10432201" y="2374839"/>
              <a:ext cx="1759797" cy="264959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25157B8-BFAB-4EE1-A4D1-E325DBA4D9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duotone>
                <a:srgbClr val="70A8DB">
                  <a:shade val="45000"/>
                  <a:satMod val="135000"/>
                </a:srgbClr>
                <a:prstClr val="white"/>
              </a:duotone>
            </a:blip>
            <a:srcRect l="2834" t="14921" r="12099" b="9383"/>
            <a:stretch/>
          </p:blipFill>
          <p:spPr>
            <a:xfrm>
              <a:off x="10432200" y="5943599"/>
              <a:ext cx="1759797" cy="914401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426460C6-58CA-4D22-9974-7DC97238B6C6}"/>
                </a:ext>
              </a:extLst>
            </p:cNvPr>
            <p:cNvSpPr txBox="1"/>
            <p:nvPr/>
          </p:nvSpPr>
          <p:spPr>
            <a:xfrm>
              <a:off x="10432200" y="184603"/>
              <a:ext cx="1759797" cy="1446550"/>
            </a:xfrm>
            <a:prstGeom prst="rect">
              <a:avLst/>
            </a:prstGeom>
            <a:noFill/>
          </p:spPr>
          <p:txBody>
            <a:bodyPr wrap="square" lIns="21600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BDA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chang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kern="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</a:t>
              </a: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change Onlin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60C39DD-AC81-41C8-8EFC-61039FD823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328" y="1785669"/>
            <a:ext cx="9930142" cy="4707206"/>
          </a:xfrm>
        </p:spPr>
        <p:txBody>
          <a:bodyPr/>
          <a:lstStyle>
            <a:lvl1pPr>
              <a:buClr>
                <a:schemeClr val="tx2"/>
              </a:buClr>
              <a:buFont typeface="Wingdings" panose="05000000000000000000" pitchFamily="2" charset="2"/>
              <a:buChar char="§"/>
              <a:defRPr sz="2400"/>
            </a:lvl1pPr>
            <a:lvl2pPr>
              <a:buClr>
                <a:schemeClr val="tx2"/>
              </a:buClr>
              <a:buFont typeface="Wingdings" panose="05000000000000000000" pitchFamily="2" charset="2"/>
              <a:buChar char="§"/>
              <a:defRPr sz="2000"/>
            </a:lvl2pPr>
            <a:lvl3pPr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3pPr>
            <a:lvl4pPr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82B1721-A19A-421C-8B29-E044BFCB82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7188" y="1005841"/>
            <a:ext cx="9929812" cy="408892"/>
          </a:xfrm>
        </p:spPr>
        <p:txBody>
          <a:bodyPr/>
          <a:lstStyle>
            <a:lvl1pPr>
              <a:buNone/>
              <a:defRPr sz="2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3425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3B1A002-702C-46C3-A5A0-7C43DB68F749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9D8E9A5-6B08-4A68-B8F8-6A3DEEC1DF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B8FD1E1-CFFC-4C71-8ED1-C60D8025120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97874" y="1498269"/>
            <a:ext cx="10515600" cy="396494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835E882-5D62-4E6F-9546-40F5DE77A7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E09F737-4667-40B5-ADB4-CCE0CAD389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42EAD0D-A136-4F60-A439-271B37588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793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E312241-CF23-4656-A9B0-BA5EAC3E8E82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6B3252C-AD0E-4BE8-BCA7-00477934407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7C2E5F9-FE44-4751-B2D1-797315A176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294C099-9D63-48B4-9414-7F2BB01DF1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E33D415-DED7-4840-96FF-995F8B2D74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393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3BCEA12-B494-4138-8707-0C5DB2F80BBA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AFC50B35-F154-4E5E-BA30-E20DB27E3F0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2D074B9-3D61-45A5-B99C-B7586C5368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8185" y="1394271"/>
            <a:ext cx="4841655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36228" y="1394271"/>
            <a:ext cx="5177557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70F3F9B-4BB0-4CDF-8680-903CE1CF3C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1DB14A8-FC1F-40DB-A003-3E87FE3B1E5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18" name="Titel 6">
            <a:extLst>
              <a:ext uri="{FF2B5EF4-FFF2-40B4-BE49-F238E27FC236}">
                <a16:creationId xmlns:a16="http://schemas.microsoft.com/office/drawing/2014/main" id="{F2B04EA4-4D5F-42BC-B028-93C69BEEA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048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A3CC4F-D9B8-413F-B0CB-8183BED8FC5C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F02FCA1E-6F4C-4CD4-899A-DED0818F497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1E45AC5-B91E-4A4D-B9FC-C2FD9F4521B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8001C03-6019-4000-B604-D1DA6D170A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7BD9F3F-F227-400F-9B65-A8B84D8630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20" name="Titel 6">
            <a:extLst>
              <a:ext uri="{FF2B5EF4-FFF2-40B4-BE49-F238E27FC236}">
                <a16:creationId xmlns:a16="http://schemas.microsoft.com/office/drawing/2014/main" id="{8525FDEA-3C2A-43CC-A5F1-10A5632A1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670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92C5A68-0F12-474C-8CA3-38867E29D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11" name="Titel 6">
            <a:extLst>
              <a:ext uri="{FF2B5EF4-FFF2-40B4-BE49-F238E27FC236}">
                <a16:creationId xmlns:a16="http://schemas.microsoft.com/office/drawing/2014/main" id="{A278A04B-EF88-403E-AA91-E98E9BA59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57FF94C-86CD-4AA6-839E-B950515BB1FF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62D4F83-D2BC-471B-A636-4D953620E8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F3EDF98-2687-42C1-A4C1-1896EFBE32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992E59BA-49E1-4DE1-BDEE-694296862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15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92C5A68-0F12-474C-8CA3-38867E29D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57FF94C-86CD-4AA6-839E-B950515BB1FF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F3EDF98-2687-42C1-A4C1-1896EFBE32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62D4F83-D2BC-471B-A636-4D953620E8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8823C96A-02E8-4CA2-9365-93EA0FDBF6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197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6FCAFC6-F98B-4375-B621-8F3FE50EB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4" t="-549" r="28040" b="28724"/>
          <a:stretch/>
        </p:blipFill>
        <p:spPr>
          <a:xfrm>
            <a:off x="0" y="283577"/>
            <a:ext cx="12192000" cy="657442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28D416B-CC68-4FED-8663-5A51B88F75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B410ABB-FA22-4BE9-AD6C-A6996127FA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12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398599A-0C0C-468F-A498-A7B6F26BC7C9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4D19ED3-D97F-4DED-BAF9-31ED08963C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F5D7D5A3-F791-4B6B-92C8-B99DCC595E6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FCF929A-310B-4AE1-846D-3F0526BCA5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426E212-B48B-4105-AEAD-B1A42E98A9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61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2000">
              <a:schemeClr val="bg1"/>
            </a:gs>
            <a:gs pos="100000">
              <a:srgbClr val="66AA98"/>
            </a:gs>
            <a:gs pos="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EE54D23-C501-4057-9474-1817B12DC5B6}" type="datetimeFigureOut">
              <a:rPr lang="de-DE" smtClean="0"/>
              <a:pPr/>
              <a:t>30.06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11C6658D-3E81-4CBF-8D7E-C0BB24DDBDA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552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9" r:id="rId7"/>
    <p:sldLayoutId id="2147483655" r:id="rId8"/>
    <p:sldLayoutId id="2147483656" r:id="rId9"/>
    <p:sldLayoutId id="2147483657" r:id="rId10"/>
    <p:sldLayoutId id="21474836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23949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emf"/><Relationship Id="rId5" Type="http://schemas.openxmlformats.org/officeDocument/2006/relationships/image" Target="../media/image35.emf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linkedin.com/in/thomasstensitzki" TargetMode="External"/><Relationship Id="rId5" Type="http://schemas.openxmlformats.org/officeDocument/2006/relationships/hyperlink" Target="http://blog.granikos.eu/" TargetMode="External"/><Relationship Id="rId4" Type="http://schemas.openxmlformats.org/officeDocument/2006/relationships/hyperlink" Target="http://blog.stensitzki.de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lifecycle/products/exchange-server-2019?WT.mc_id=M365-MVP-5003086" TargetMode="External"/><Relationship Id="rId3" Type="http://schemas.openxmlformats.org/officeDocument/2006/relationships/hyperlink" Target="https://docs.microsoft.com/exchange/configure-oauth-authentication-between-exchange-and-exchange-online-organizations-exchange-2013-help?WT.mc_id=M365-MVP-5003086#how-do-you-configure-oauth-authentication-between-your-on-premises-exchange-and-exchange-online-organizations" TargetMode="External"/><Relationship Id="rId7" Type="http://schemas.openxmlformats.org/officeDocument/2006/relationships/hyperlink" Target="https://docs.microsoft.com/lifecycle/products/exchange-server-2016?WT.mc_id=M365-MVP-5003086" TargetMode="External"/><Relationship Id="rId2" Type="http://schemas.openxmlformats.org/officeDocument/2006/relationships/hyperlink" Target="https://docs.microsoft.com/microsoftteams/exchange-teams-interact?WT.mc_id=M365-MVP-5003086#requirements-to-create-and-view-meetings-for-mailboxes-hosted-on-premise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ocs.microsoft.com/microsoftteams/troubleshoot/exchange-integration/teams-exchange-interaction-issue?WT.mc_id=TM-MVP-5003086" TargetMode="External"/><Relationship Id="rId5" Type="http://schemas.openxmlformats.org/officeDocument/2006/relationships/hyperlink" Target="https://techcommunity.microsoft.com/t5/exchange-team-blog/my-user-has-a-mailbox-both-on-premises-and-in-exchange-online/ba-p/846809?WT.mc_id=M365-MVP-5003086" TargetMode="External"/><Relationship Id="rId4" Type="http://schemas.openxmlformats.org/officeDocument/2006/relationships/hyperlink" Target="https://docs.microsoft.com/microsoftteams/log-files?WT.mc_id=TM-MVP-5003086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microsoft-teams-community-blog/microsoft-teams-and-on-premises-mailboxes-part-2-teams-calendar/ba-p/2232602?WT.mc_id=TM-MVP-5003086" TargetMode="External"/><Relationship Id="rId2" Type="http://schemas.openxmlformats.org/officeDocument/2006/relationships/hyperlink" Target="https://techcommunity.microsoft.com/t5/microsoft-teams-community-blog/microsoft-teams-and-on-premises-mailboxes-part-1-how-do-teams/ba-p/2229851?WT.mc_id=TM-MVP-5003086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techcommunity.microsoft.com/t5/microsoft-teams-community-blog/microsoft-teams-and-on-premises-mailboxes-part-3-calendar-based/ba-p/2235211?WT.mc_id=TM-MVP-5003086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m365businessbuch.de/" TargetMode="External"/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go.granikos.eu/Exchange2019Buch" TargetMode="External"/><Relationship Id="rId5" Type="http://schemas.openxmlformats.org/officeDocument/2006/relationships/image" Target="../media/image7.png"/><Relationship Id="rId4" Type="http://schemas.openxmlformats.org/officeDocument/2006/relationships/hyperlink" Target="https://www.linkedin.com/in/thomasstensitzki" TargetMode="External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emf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emf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emf"/><Relationship Id="rId7" Type="http://schemas.openxmlformats.org/officeDocument/2006/relationships/image" Target="../media/image27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3760764"/>
            <a:ext cx="12192000" cy="1043395"/>
          </a:xfrm>
        </p:spPr>
        <p:txBody>
          <a:bodyPr>
            <a:normAutofit fontScale="90000"/>
          </a:bodyPr>
          <a:lstStyle/>
          <a:p>
            <a:r>
              <a:rPr lang="de-DE" dirty="0">
                <a:solidFill>
                  <a:srgbClr val="023949"/>
                </a:solidFill>
              </a:rPr>
              <a:t>Microsoft Teams und lokale Postfächer</a:t>
            </a:r>
            <a:br>
              <a:rPr lang="de-DE" dirty="0">
                <a:solidFill>
                  <a:srgbClr val="023949"/>
                </a:solidFill>
              </a:rPr>
            </a:br>
            <a:r>
              <a:rPr lang="de-DE" dirty="0">
                <a:solidFill>
                  <a:srgbClr val="023949"/>
                </a:solidFill>
              </a:rPr>
              <a:t>Warum?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112" y="4973204"/>
            <a:ext cx="12192000" cy="820850"/>
          </a:xfrm>
        </p:spPr>
        <p:txBody>
          <a:bodyPr/>
          <a:lstStyle/>
          <a:p>
            <a:r>
              <a:rPr lang="de-DE" dirty="0">
                <a:solidFill>
                  <a:srgbClr val="023949"/>
                </a:solidFill>
              </a:rPr>
              <a:t>Thomas Stensitzki</a:t>
            </a:r>
            <a:br>
              <a:rPr lang="de-DE" dirty="0">
                <a:solidFill>
                  <a:srgbClr val="023949"/>
                </a:solidFill>
              </a:rPr>
            </a:br>
            <a:r>
              <a:rPr lang="de-DE" dirty="0">
                <a:solidFill>
                  <a:srgbClr val="023949"/>
                </a:solidFill>
              </a:rPr>
              <a:t>MVP | MCT | Au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EAFB1E6-C38B-413A-965E-22C974F89E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166" y="253782"/>
            <a:ext cx="2885892" cy="283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875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B5E2E0-53AD-4D93-A0E9-EA7B09996D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1 – Exchange Server Versio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xchange Server 2016 CU3 oder neuer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Unterstützung für AutoDiscover v2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Folgen Sie den Exchange Server Support Life-Cycle Empfehlungen und halten Sie die eingesetzten Exchange Server Versionen aktuell</a:t>
            </a:r>
            <a:br>
              <a:rPr lang="de-DE" dirty="0"/>
            </a:b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2 – Hybrid Identitäten und Azure AD Connect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xchange Online identifiziert lokale Postfächer anhand der Mail User-Objektinformatione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Azure AD Connect muss mit der Option </a:t>
            </a:r>
            <a:r>
              <a:rPr lang="de-DE" b="1" dirty="0"/>
              <a:t>Exchange Hybrid </a:t>
            </a:r>
            <a:r>
              <a:rPr lang="de-DE" dirty="0"/>
              <a:t>betrieben werden</a:t>
            </a:r>
            <a:br>
              <a:rPr lang="de-DE" dirty="0"/>
            </a:b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3 – Teams Backend Services Konnektivität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DNS Namensauflösung für die externen DNS-Zone Ihrer Domäne(n)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Keine Filterung des User-Agent-Stri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8B98ADE-BA4A-4467-964D-EA252F188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lpersteine – Teil 1 </a:t>
            </a:r>
          </a:p>
        </p:txBody>
      </p:sp>
    </p:spTree>
    <p:extLst>
      <p:ext uri="{BB962C8B-B14F-4D97-AF65-F5344CB8AC3E}">
        <p14:creationId xmlns:p14="http://schemas.microsoft.com/office/powerpoint/2010/main" val="383829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B5E2E0-53AD-4D93-A0E9-EA7B09996D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4 –URL-Einstellungen der virtuellen Verzeichniss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Korrekte Konfiguration der </a:t>
            </a:r>
            <a:r>
              <a:rPr lang="de-DE" dirty="0" err="1"/>
              <a:t>ExternalURL</a:t>
            </a:r>
            <a:r>
              <a:rPr lang="de-DE" dirty="0"/>
              <a:t>-Einstellungen auf allen Exchange Servern</a:t>
            </a:r>
            <a:br>
              <a:rPr lang="de-DE" dirty="0"/>
            </a:b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5 – OAuth-Authentifizierung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Authentifizierung der Teams Backend Services gegen lokale Exchange Server erfolgt mit OAuth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Korrekte OAuth-Konfiguration </a:t>
            </a:r>
            <a:r>
              <a:rPr lang="de-DE" dirty="0">
                <a:sym typeface="Wingdings" panose="05000000000000000000" pitchFamily="2" charset="2"/>
              </a:rPr>
              <a:t> Nutzen Sie den </a:t>
            </a:r>
            <a:r>
              <a:rPr lang="de-DE" dirty="0"/>
              <a:t>Hybrid </a:t>
            </a:r>
            <a:r>
              <a:rPr lang="de-DE" dirty="0" err="1"/>
              <a:t>Configuration</a:t>
            </a:r>
            <a:r>
              <a:rPr lang="de-DE" dirty="0"/>
              <a:t> Wizard oder folgen Sie der Online-Dokumentation</a:t>
            </a:r>
            <a:br>
              <a:rPr lang="de-DE" dirty="0"/>
            </a:b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Stolperstein 6 – Stellvertreterzugriff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Konfiguration des Stellvertreterzugriffs auf ein Benutzerpostfach muss mit dem Outlook Stellvertreterassistenten erfolge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Direkt Berechtigung auf den Postfachordner Kalender ist nicht ausreichen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8B98ADE-BA4A-4467-964D-EA252F188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lpersteine – Teil 2 </a:t>
            </a:r>
          </a:p>
        </p:txBody>
      </p:sp>
    </p:spTree>
    <p:extLst>
      <p:ext uri="{BB962C8B-B14F-4D97-AF65-F5344CB8AC3E}">
        <p14:creationId xmlns:p14="http://schemas.microsoft.com/office/powerpoint/2010/main" val="71122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D981757-D8B6-47C3-A622-F8EEA7B04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lexes Troubleshooting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83ADE585-933E-4957-9C57-0A556A53A15C}"/>
              </a:ext>
            </a:extLst>
          </p:cNvPr>
          <p:cNvSpPr/>
          <p:nvPr/>
        </p:nvSpPr>
        <p:spPr bwMode="auto">
          <a:xfrm>
            <a:off x="1021194" y="1259483"/>
            <a:ext cx="1271521" cy="560604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7030A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 129">
            <a:extLst>
              <a:ext uri="{FF2B5EF4-FFF2-40B4-BE49-F238E27FC236}">
                <a16:creationId xmlns:a16="http://schemas.microsoft.com/office/drawing/2014/main" id="{2683C791-70E9-4053-B670-AF9EFE317572}"/>
              </a:ext>
            </a:extLst>
          </p:cNvPr>
          <p:cNvSpPr/>
          <p:nvPr/>
        </p:nvSpPr>
        <p:spPr>
          <a:xfrm>
            <a:off x="1021194" y="6161872"/>
            <a:ext cx="1271521" cy="703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67"/>
            <a:r>
              <a:rPr lang="en-US" sz="1324" dirty="0">
                <a:solidFill>
                  <a:srgbClr val="7030A0"/>
                </a:solidFill>
                <a:latin typeface="Segoe UI"/>
              </a:rPr>
              <a:t>Teams Backend</a:t>
            </a:r>
            <a:br>
              <a:rPr lang="en-US" sz="1324" dirty="0">
                <a:solidFill>
                  <a:srgbClr val="7030A0"/>
                </a:solidFill>
                <a:latin typeface="Segoe UI"/>
              </a:rPr>
            </a:br>
            <a:r>
              <a:rPr lang="en-US" sz="1324" dirty="0">
                <a:solidFill>
                  <a:srgbClr val="7030A0"/>
                </a:solidFill>
                <a:latin typeface="Segoe UI"/>
              </a:rPr>
              <a:t>Services</a:t>
            </a:r>
          </a:p>
        </p:txBody>
      </p:sp>
      <p:pic>
        <p:nvPicPr>
          <p:cNvPr id="7" name="Grafik 6" descr="Cloud Silhouette">
            <a:extLst>
              <a:ext uri="{FF2B5EF4-FFF2-40B4-BE49-F238E27FC236}">
                <a16:creationId xmlns:a16="http://schemas.microsoft.com/office/drawing/2014/main" id="{4A0823ED-C2EE-487A-AE27-C930E63E37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195" y="2881729"/>
            <a:ext cx="1271520" cy="1271520"/>
          </a:xfrm>
          <a:prstGeom prst="rect">
            <a:avLst/>
          </a:prstGeom>
        </p:spPr>
      </p:pic>
      <p:pic>
        <p:nvPicPr>
          <p:cNvPr id="8" name="Picture 108">
            <a:extLst>
              <a:ext uri="{FF2B5EF4-FFF2-40B4-BE49-F238E27FC236}">
                <a16:creationId xmlns:a16="http://schemas.microsoft.com/office/drawing/2014/main" id="{D0DBA9B9-2F76-41D2-9E62-4D0B17FA89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7215" y="3423969"/>
            <a:ext cx="345942" cy="28611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DF66404-37DB-4873-A2D6-1BC902DB91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8904" y="3582982"/>
            <a:ext cx="325148" cy="325148"/>
          </a:xfrm>
          <a:prstGeom prst="rect">
            <a:avLst/>
          </a:prstGeom>
        </p:spPr>
      </p:pic>
      <p:sp>
        <p:nvSpPr>
          <p:cNvPr id="10" name="Rectangle 8">
            <a:extLst>
              <a:ext uri="{FF2B5EF4-FFF2-40B4-BE49-F238E27FC236}">
                <a16:creationId xmlns:a16="http://schemas.microsoft.com/office/drawing/2014/main" id="{CCDB0355-E827-456F-9BA9-2953A5EB0C6A}"/>
              </a:ext>
            </a:extLst>
          </p:cNvPr>
          <p:cNvSpPr/>
          <p:nvPr/>
        </p:nvSpPr>
        <p:spPr bwMode="auto">
          <a:xfrm>
            <a:off x="2730866" y="1267048"/>
            <a:ext cx="8586512" cy="56060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49C3549-931C-4351-9377-CF3CA87556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04832" y="967292"/>
            <a:ext cx="781050" cy="762000"/>
          </a:xfrm>
          <a:prstGeom prst="rect">
            <a:avLst/>
          </a:prstGeom>
        </p:spPr>
      </p:pic>
      <p:sp>
        <p:nvSpPr>
          <p:cNvPr id="12" name="Rounded Rectangle 93">
            <a:extLst>
              <a:ext uri="{FF2B5EF4-FFF2-40B4-BE49-F238E27FC236}">
                <a16:creationId xmlns:a16="http://schemas.microsoft.com/office/drawing/2014/main" id="{0688D5D3-329C-4531-9EE6-A747B6C2F32E}"/>
              </a:ext>
            </a:extLst>
          </p:cNvPr>
          <p:cNvSpPr/>
          <p:nvPr/>
        </p:nvSpPr>
        <p:spPr>
          <a:xfrm rot="5400000">
            <a:off x="3412017" y="348615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3" name="Rounded Rectangle 93">
            <a:extLst>
              <a:ext uri="{FF2B5EF4-FFF2-40B4-BE49-F238E27FC236}">
                <a16:creationId xmlns:a16="http://schemas.microsoft.com/office/drawing/2014/main" id="{295734A0-2E3D-4A6E-8BBF-034A8C590984}"/>
              </a:ext>
            </a:extLst>
          </p:cNvPr>
          <p:cNvSpPr/>
          <p:nvPr/>
        </p:nvSpPr>
        <p:spPr>
          <a:xfrm rot="5400000">
            <a:off x="4854172" y="348615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14" name="Rounded Rectangle 93">
            <a:extLst>
              <a:ext uri="{FF2B5EF4-FFF2-40B4-BE49-F238E27FC236}">
                <a16:creationId xmlns:a16="http://schemas.microsoft.com/office/drawing/2014/main" id="{08AA1D4D-E9DE-40FF-A679-91EAD10AE68A}"/>
              </a:ext>
            </a:extLst>
          </p:cNvPr>
          <p:cNvSpPr/>
          <p:nvPr/>
        </p:nvSpPr>
        <p:spPr>
          <a:xfrm rot="5400000">
            <a:off x="7510365" y="348615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5" name="Rounded Rectangle 93">
            <a:extLst>
              <a:ext uri="{FF2B5EF4-FFF2-40B4-BE49-F238E27FC236}">
                <a16:creationId xmlns:a16="http://schemas.microsoft.com/office/drawing/2014/main" id="{B5910026-B002-4EF7-ACBA-62184AA07479}"/>
              </a:ext>
            </a:extLst>
          </p:cNvPr>
          <p:cNvSpPr/>
          <p:nvPr/>
        </p:nvSpPr>
        <p:spPr>
          <a:xfrm rot="5400000">
            <a:off x="8952520" y="348615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16" name="Snip Single Corner Rectangle 46">
            <a:extLst>
              <a:ext uri="{FF2B5EF4-FFF2-40B4-BE49-F238E27FC236}">
                <a16:creationId xmlns:a16="http://schemas.microsoft.com/office/drawing/2014/main" id="{0B9802A2-C2C1-4CCA-A4A2-28709A108D89}"/>
              </a:ext>
            </a:extLst>
          </p:cNvPr>
          <p:cNvSpPr/>
          <p:nvPr/>
        </p:nvSpPr>
        <p:spPr>
          <a:xfrm>
            <a:off x="7922698" y="3976769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17" name="Rounded Rectangle 49">
            <a:extLst>
              <a:ext uri="{FF2B5EF4-FFF2-40B4-BE49-F238E27FC236}">
                <a16:creationId xmlns:a16="http://schemas.microsoft.com/office/drawing/2014/main" id="{543A206B-6E69-445D-AFE2-5EB200C34D40}"/>
              </a:ext>
            </a:extLst>
          </p:cNvPr>
          <p:cNvSpPr/>
          <p:nvPr/>
        </p:nvSpPr>
        <p:spPr>
          <a:xfrm>
            <a:off x="4125129" y="2574115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18" name="Rounded Rectangle 49">
            <a:extLst>
              <a:ext uri="{FF2B5EF4-FFF2-40B4-BE49-F238E27FC236}">
                <a16:creationId xmlns:a16="http://schemas.microsoft.com/office/drawing/2014/main" id="{90146D5E-F039-4D9E-B798-89954F6BCDDF}"/>
              </a:ext>
            </a:extLst>
          </p:cNvPr>
          <p:cNvSpPr/>
          <p:nvPr/>
        </p:nvSpPr>
        <p:spPr>
          <a:xfrm>
            <a:off x="8223477" y="2573129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19" name="Rounded Rectangle 49">
            <a:extLst>
              <a:ext uri="{FF2B5EF4-FFF2-40B4-BE49-F238E27FC236}">
                <a16:creationId xmlns:a16="http://schemas.microsoft.com/office/drawing/2014/main" id="{B26A0885-7B5F-4FAE-B659-FE8C41A26511}"/>
              </a:ext>
            </a:extLst>
          </p:cNvPr>
          <p:cNvSpPr/>
          <p:nvPr/>
        </p:nvSpPr>
        <p:spPr>
          <a:xfrm>
            <a:off x="9674933" y="2570610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</a:t>
            </a:r>
          </a:p>
        </p:txBody>
      </p:sp>
      <p:cxnSp>
        <p:nvCxnSpPr>
          <p:cNvPr id="20" name="Straight Connector 20">
            <a:extLst>
              <a:ext uri="{FF2B5EF4-FFF2-40B4-BE49-F238E27FC236}">
                <a16:creationId xmlns:a16="http://schemas.microsoft.com/office/drawing/2014/main" id="{02338B48-0186-4C0B-B6E9-19FD3143193F}"/>
              </a:ext>
            </a:extLst>
          </p:cNvPr>
          <p:cNvCxnSpPr>
            <a:cxnSpLocks/>
            <a:endCxn id="12" idx="3"/>
          </p:cNvCxnSpPr>
          <p:nvPr/>
        </p:nvCxnSpPr>
        <p:spPr>
          <a:xfrm flipH="1">
            <a:off x="4721149" y="2881232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77BC04F-4FFA-4A4B-8117-F14A02F9F773}"/>
              </a:ext>
            </a:extLst>
          </p:cNvPr>
          <p:cNvCxnSpPr>
            <a:cxnSpLocks/>
            <a:stCxn id="13" idx="1"/>
            <a:endCxn id="13" idx="3"/>
          </p:cNvCxnSpPr>
          <p:nvPr/>
        </p:nvCxnSpPr>
        <p:spPr>
          <a:xfrm>
            <a:off x="6163304" y="2729427"/>
            <a:ext cx="0" cy="2618265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0">
            <a:extLst>
              <a:ext uri="{FF2B5EF4-FFF2-40B4-BE49-F238E27FC236}">
                <a16:creationId xmlns:a16="http://schemas.microsoft.com/office/drawing/2014/main" id="{F00B835E-602E-4DFA-A8DE-F6B7B7938F1E}"/>
              </a:ext>
            </a:extLst>
          </p:cNvPr>
          <p:cNvCxnSpPr>
            <a:cxnSpLocks/>
          </p:cNvCxnSpPr>
          <p:nvPr/>
        </p:nvCxnSpPr>
        <p:spPr>
          <a:xfrm flipH="1">
            <a:off x="8816154" y="2881231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0">
            <a:extLst>
              <a:ext uri="{FF2B5EF4-FFF2-40B4-BE49-F238E27FC236}">
                <a16:creationId xmlns:a16="http://schemas.microsoft.com/office/drawing/2014/main" id="{CF50BEF0-3D60-412A-B9CA-F32C7CF10696}"/>
              </a:ext>
            </a:extLst>
          </p:cNvPr>
          <p:cNvCxnSpPr>
            <a:cxnSpLocks/>
          </p:cNvCxnSpPr>
          <p:nvPr/>
        </p:nvCxnSpPr>
        <p:spPr>
          <a:xfrm flipH="1">
            <a:off x="10255954" y="2896286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2700FB22-9605-4109-9BCB-139748771BB6}"/>
              </a:ext>
            </a:extLst>
          </p:cNvPr>
          <p:cNvCxnSpPr>
            <a:cxnSpLocks/>
          </p:cNvCxnSpPr>
          <p:nvPr/>
        </p:nvCxnSpPr>
        <p:spPr>
          <a:xfrm>
            <a:off x="4721149" y="3351225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6860B508-40CF-4DF7-A56D-D00A38649404}"/>
              </a:ext>
            </a:extLst>
          </p:cNvPr>
          <p:cNvCxnSpPr>
            <a:cxnSpLocks/>
          </p:cNvCxnSpPr>
          <p:nvPr/>
        </p:nvCxnSpPr>
        <p:spPr>
          <a:xfrm>
            <a:off x="8816154" y="4458968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B2C06372-25E4-480E-ABFE-B6423C61E8DC}"/>
              </a:ext>
            </a:extLst>
          </p:cNvPr>
          <p:cNvCxnSpPr>
            <a:cxnSpLocks/>
            <a:endCxn id="38" idx="2"/>
          </p:cNvCxnSpPr>
          <p:nvPr/>
        </p:nvCxnSpPr>
        <p:spPr>
          <a:xfrm>
            <a:off x="2180501" y="3567028"/>
            <a:ext cx="1602489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" name="Rounded Rectangle 49">
            <a:extLst>
              <a:ext uri="{FF2B5EF4-FFF2-40B4-BE49-F238E27FC236}">
                <a16:creationId xmlns:a16="http://schemas.microsoft.com/office/drawing/2014/main" id="{D4973901-9302-49A7-ABAC-FE932D7242FE}"/>
              </a:ext>
            </a:extLst>
          </p:cNvPr>
          <p:cNvSpPr/>
          <p:nvPr/>
        </p:nvSpPr>
        <p:spPr>
          <a:xfrm>
            <a:off x="5576746" y="2573129"/>
            <a:ext cx="1201341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 Proxy</a:t>
            </a:r>
          </a:p>
        </p:txBody>
      </p:sp>
      <p:cxnSp>
        <p:nvCxnSpPr>
          <p:cNvPr id="28" name="Straight Connector 20">
            <a:extLst>
              <a:ext uri="{FF2B5EF4-FFF2-40B4-BE49-F238E27FC236}">
                <a16:creationId xmlns:a16="http://schemas.microsoft.com/office/drawing/2014/main" id="{A0E3C7E6-E6C6-4F3A-AA9A-791073F4CD85}"/>
              </a:ext>
            </a:extLst>
          </p:cNvPr>
          <p:cNvCxnSpPr>
            <a:cxnSpLocks/>
          </p:cNvCxnSpPr>
          <p:nvPr/>
        </p:nvCxnSpPr>
        <p:spPr>
          <a:xfrm>
            <a:off x="7086468" y="1267048"/>
            <a:ext cx="0" cy="560604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E636F78-DBEE-4777-8248-E3B4115E2402}"/>
              </a:ext>
            </a:extLst>
          </p:cNvPr>
          <p:cNvCxnSpPr>
            <a:cxnSpLocks/>
          </p:cNvCxnSpPr>
          <p:nvPr/>
        </p:nvCxnSpPr>
        <p:spPr>
          <a:xfrm flipV="1">
            <a:off x="6163304" y="3867944"/>
            <a:ext cx="2655699" cy="2363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ectangle 40">
            <a:extLst>
              <a:ext uri="{FF2B5EF4-FFF2-40B4-BE49-F238E27FC236}">
                <a16:creationId xmlns:a16="http://schemas.microsoft.com/office/drawing/2014/main" id="{FEF16EC5-5DA9-470F-B12D-423DAA31399A}"/>
              </a:ext>
            </a:extLst>
          </p:cNvPr>
          <p:cNvSpPr/>
          <p:nvPr/>
        </p:nvSpPr>
        <p:spPr>
          <a:xfrm>
            <a:off x="3073346" y="3327081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3</a:t>
            </a:r>
          </a:p>
        </p:txBody>
      </p:sp>
      <p:sp>
        <p:nvSpPr>
          <p:cNvPr id="31" name="Rectangle 40">
            <a:extLst>
              <a:ext uri="{FF2B5EF4-FFF2-40B4-BE49-F238E27FC236}">
                <a16:creationId xmlns:a16="http://schemas.microsoft.com/office/drawing/2014/main" id="{05B8F6CB-501B-4318-AC80-03D4138140CD}"/>
              </a:ext>
            </a:extLst>
          </p:cNvPr>
          <p:cNvSpPr/>
          <p:nvPr/>
        </p:nvSpPr>
        <p:spPr>
          <a:xfrm>
            <a:off x="7681550" y="3643703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4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8DCEE08-F256-49A6-9936-C59EF146CF73}"/>
              </a:ext>
            </a:extLst>
          </p:cNvPr>
          <p:cNvCxnSpPr>
            <a:cxnSpLocks/>
          </p:cNvCxnSpPr>
          <p:nvPr/>
        </p:nvCxnSpPr>
        <p:spPr>
          <a:xfrm>
            <a:off x="4289760" y="3582982"/>
            <a:ext cx="437087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3" name="Rectangle 49">
            <a:extLst>
              <a:ext uri="{FF2B5EF4-FFF2-40B4-BE49-F238E27FC236}">
                <a16:creationId xmlns:a16="http://schemas.microsoft.com/office/drawing/2014/main" id="{627237EB-341A-4D23-9966-76721F216DE9}"/>
              </a:ext>
            </a:extLst>
          </p:cNvPr>
          <p:cNvSpPr/>
          <p:nvPr/>
        </p:nvSpPr>
        <p:spPr>
          <a:xfrm>
            <a:off x="7086468" y="6582016"/>
            <a:ext cx="4230902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Mailbox</a:t>
            </a:r>
          </a:p>
        </p:txBody>
      </p:sp>
      <p:sp>
        <p:nvSpPr>
          <p:cNvPr id="34" name="Rectangle 49">
            <a:extLst>
              <a:ext uri="{FF2B5EF4-FFF2-40B4-BE49-F238E27FC236}">
                <a16:creationId xmlns:a16="http://schemas.microsoft.com/office/drawing/2014/main" id="{4ABD0EDD-F9B4-4557-8E88-7B3C5761227F}"/>
              </a:ext>
            </a:extLst>
          </p:cNvPr>
          <p:cNvSpPr/>
          <p:nvPr/>
        </p:nvSpPr>
        <p:spPr>
          <a:xfrm>
            <a:off x="2730866" y="6577944"/>
            <a:ext cx="4368026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Client Access Frontend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CF8879B-AE70-4B3D-A3D1-9ABED6524565}"/>
              </a:ext>
            </a:extLst>
          </p:cNvPr>
          <p:cNvSpPr/>
          <p:nvPr/>
        </p:nvSpPr>
        <p:spPr>
          <a:xfrm>
            <a:off x="2833006" y="1395983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6A094BBE-F197-4FA9-A0A3-304FC8DB385C}"/>
              </a:ext>
            </a:extLst>
          </p:cNvPr>
          <p:cNvSpPr/>
          <p:nvPr/>
        </p:nvSpPr>
        <p:spPr>
          <a:xfrm>
            <a:off x="7174001" y="1390272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D21E820-D734-4DD4-8C94-C5331D6A2A99}"/>
              </a:ext>
            </a:extLst>
          </p:cNvPr>
          <p:cNvSpPr/>
          <p:nvPr/>
        </p:nvSpPr>
        <p:spPr>
          <a:xfrm rot="20876037">
            <a:off x="7188608" y="1433458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B, C, …</a:t>
            </a:r>
          </a:p>
        </p:txBody>
      </p:sp>
      <p:sp>
        <p:nvSpPr>
          <p:cNvPr id="38" name="Snip Single Corner Rectangle 46">
            <a:extLst>
              <a:ext uri="{FF2B5EF4-FFF2-40B4-BE49-F238E27FC236}">
                <a16:creationId xmlns:a16="http://schemas.microsoft.com/office/drawing/2014/main" id="{522F7CC6-2C3B-46A0-BBCF-30119A24AD59}"/>
              </a:ext>
            </a:extLst>
          </p:cNvPr>
          <p:cNvSpPr/>
          <p:nvPr/>
        </p:nvSpPr>
        <p:spPr>
          <a:xfrm>
            <a:off x="3782990" y="3411717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8E2E54E-B037-465F-AC7F-71CDF0B21417}"/>
              </a:ext>
            </a:extLst>
          </p:cNvPr>
          <p:cNvSpPr/>
          <p:nvPr/>
        </p:nvSpPr>
        <p:spPr>
          <a:xfrm>
            <a:off x="2358461" y="3733736"/>
            <a:ext cx="1503955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irew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27BB645-27AD-43B6-B531-A6132EAA1B59}"/>
              </a:ext>
            </a:extLst>
          </p:cNvPr>
          <p:cNvSpPr/>
          <p:nvPr/>
        </p:nvSpPr>
        <p:spPr>
          <a:xfrm>
            <a:off x="2352045" y="4036277"/>
            <a:ext cx="1510372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verse Proxy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9E42E9D-4001-4DDA-82B7-274C7382EB7A}"/>
              </a:ext>
            </a:extLst>
          </p:cNvPr>
          <p:cNvSpPr/>
          <p:nvPr/>
        </p:nvSpPr>
        <p:spPr>
          <a:xfrm>
            <a:off x="2355179" y="4343988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rusion Detectio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3A6AC99D-9903-457D-BB6D-791E7B8F2C3C}"/>
              </a:ext>
            </a:extLst>
          </p:cNvPr>
          <p:cNvSpPr/>
          <p:nvPr/>
        </p:nvSpPr>
        <p:spPr>
          <a:xfrm>
            <a:off x="2356895" y="4657114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ad Balan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4F7B2DCA-C6DE-4463-AC1D-E25F8DB22313}"/>
              </a:ext>
            </a:extLst>
          </p:cNvPr>
          <p:cNvSpPr/>
          <p:nvPr/>
        </p:nvSpPr>
        <p:spPr>
          <a:xfrm>
            <a:off x="2350496" y="4974168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LS-Proxy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8DCBEAED-5B67-44E5-82AB-11460B5DFC58}"/>
              </a:ext>
            </a:extLst>
          </p:cNvPr>
          <p:cNvSpPr/>
          <p:nvPr/>
        </p:nvSpPr>
        <p:spPr>
          <a:xfrm>
            <a:off x="2350495" y="5281673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itere Geräte…</a:t>
            </a:r>
          </a:p>
        </p:txBody>
      </p:sp>
    </p:spTree>
    <p:extLst>
      <p:ext uri="{BB962C8B-B14F-4D97-AF65-F5344CB8AC3E}">
        <p14:creationId xmlns:p14="http://schemas.microsoft.com/office/powerpoint/2010/main" val="990690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5" grpId="0" animBg="1"/>
      <p:bldP spid="36" grpId="0" animBg="1"/>
      <p:bldP spid="37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F138BBE-7C32-4117-8D90-5C34EE2058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Zugriff auf persönliche Kontakt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Zugriff auf weitere Kalenderordner im persönlichen Postfach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Delegierter Zugriff auf </a:t>
            </a:r>
            <a:r>
              <a:rPr lang="de-DE"/>
              <a:t>freigegebene Postfächer</a:t>
            </a: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To Do und Bookings erfordern ein Exchange Online Postfach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78B45B9-9DEB-49E2-A875-AF4FD82FB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funktioniert nicht?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925ECA-1904-4F3C-9615-EDE57EEDD2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067" y="3429000"/>
            <a:ext cx="8038095" cy="441904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660120D-A726-4281-9575-30793E626AAA}"/>
              </a:ext>
            </a:extLst>
          </p:cNvPr>
          <p:cNvSpPr/>
          <p:nvPr/>
        </p:nvSpPr>
        <p:spPr>
          <a:xfrm>
            <a:off x="2283067" y="3898785"/>
            <a:ext cx="8038095" cy="112541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0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0" cap="none" spc="0" normalizeH="0" baseline="0" noProof="0" dirty="0">
              <a:ln>
                <a:noFill/>
              </a:ln>
              <a:solidFill>
                <a:srgbClr val="C8303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023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16B48751-9520-4F91-8B07-E6E0A71C163F}"/>
              </a:ext>
            </a:extLst>
          </p:cNvPr>
          <p:cNvSpPr/>
          <p:nvPr/>
        </p:nvSpPr>
        <p:spPr>
          <a:xfrm>
            <a:off x="0" y="2586697"/>
            <a:ext cx="12192000" cy="1684606"/>
          </a:xfrm>
          <a:prstGeom prst="rect">
            <a:avLst/>
          </a:prstGeom>
          <a:gradFill flip="none" rotWithShape="1">
            <a:gsLst>
              <a:gs pos="91000">
                <a:srgbClr val="023949"/>
              </a:gs>
              <a:gs pos="10000">
                <a:srgbClr val="023949"/>
              </a:gs>
              <a:gs pos="0">
                <a:srgbClr val="046D8A"/>
              </a:gs>
              <a:gs pos="100000">
                <a:srgbClr val="046D8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idx="4294967295"/>
          </p:nvPr>
        </p:nvSpPr>
        <p:spPr>
          <a:xfrm>
            <a:off x="1" y="0"/>
            <a:ext cx="12191999" cy="6858000"/>
          </a:xfrm>
        </p:spPr>
        <p:txBody>
          <a:bodyPr>
            <a:normAutofit/>
          </a:bodyPr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712469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4E5FDB5-346C-471F-8351-70738465B4EC}"/>
              </a:ext>
            </a:extLst>
          </p:cNvPr>
          <p:cNvSpPr txBox="1">
            <a:spLocks/>
          </p:cNvSpPr>
          <p:nvPr/>
        </p:nvSpPr>
        <p:spPr>
          <a:xfrm>
            <a:off x="1597572" y="1449389"/>
            <a:ext cx="5674085" cy="47476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kern="0" dirty="0"/>
              <a:t>Thomas Stensitzk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SM | MCT Regional Lead 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  <a:br>
              <a:rPr lang="de-DE" sz="2000" kern="0" dirty="0"/>
            </a:br>
            <a:r>
              <a:rPr lang="de-DE" sz="2000" kern="0" dirty="0">
                <a:hlinkClick r:id="rId4"/>
              </a:rPr>
              <a:t>http://blog.stensitzki.de</a:t>
            </a:r>
            <a:r>
              <a:rPr lang="de-DE" sz="2000" kern="0" dirty="0"/>
              <a:t> (EN)</a:t>
            </a:r>
            <a:br>
              <a:rPr lang="de-DE" sz="2000" kern="0" dirty="0"/>
            </a:br>
            <a:r>
              <a:rPr lang="de-DE" sz="2000" kern="0" dirty="0">
                <a:hlinkClick r:id="rId5"/>
              </a:rPr>
              <a:t>http://blog.Granikos.eu</a:t>
            </a:r>
            <a:r>
              <a:rPr lang="de-DE" sz="2000" kern="0" dirty="0"/>
              <a:t> (DE)</a:t>
            </a:r>
            <a:br>
              <a:rPr lang="de-DE" sz="2000" kern="0" dirty="0"/>
            </a:br>
            <a:endParaRPr lang="de-DE" sz="2000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>
                <a:hlinkClick r:id="rId6"/>
              </a:rPr>
              <a:t>https://www.linkedin.com/in/thomasstensitzki</a:t>
            </a:r>
            <a:r>
              <a:rPr lang="de-DE" sz="2000" kern="0" dirty="0"/>
              <a:t> </a:t>
            </a:r>
          </a:p>
        </p:txBody>
      </p:sp>
      <p:pic>
        <p:nvPicPr>
          <p:cNvPr id="3" name="Grafik 2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6356826F-9AD4-4296-A087-B7EC209468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44" y="1449389"/>
            <a:ext cx="1726913" cy="69674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EADE5E7-D7FD-4B96-B21E-379D16907B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915" y="3429000"/>
            <a:ext cx="2033026" cy="203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7734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66AA98"/>
            </a:gs>
            <a:gs pos="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5EECAA5-82D3-4367-9106-98BFFCC15386}"/>
              </a:ext>
            </a:extLst>
          </p:cNvPr>
          <p:cNvSpPr/>
          <p:nvPr/>
        </p:nvSpPr>
        <p:spPr>
          <a:xfrm>
            <a:off x="0" y="2586697"/>
            <a:ext cx="12192000" cy="1684606"/>
          </a:xfrm>
          <a:prstGeom prst="rect">
            <a:avLst/>
          </a:prstGeom>
          <a:gradFill flip="none" rotWithShape="1">
            <a:gsLst>
              <a:gs pos="91000">
                <a:srgbClr val="023949"/>
              </a:gs>
              <a:gs pos="10000">
                <a:srgbClr val="023949"/>
              </a:gs>
              <a:gs pos="0">
                <a:srgbClr val="046D8A"/>
              </a:gs>
              <a:gs pos="100000">
                <a:srgbClr val="046D8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12192000" cy="6857999"/>
          </a:xfrm>
        </p:spPr>
        <p:txBody>
          <a:bodyPr>
            <a:normAutofit/>
          </a:bodyPr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8378930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F1A7EC-6A32-4199-BF58-37DC1A634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C48B9D-1EC4-4ACF-9074-730242A4E6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2"/>
              </a:rPr>
              <a:t>Requirements to create and view meetings for mailboxes hosted on-premises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3"/>
              </a:rPr>
              <a:t>How do you configure OAuth authentication between your on-premises Exchange and Exchange Online organizations?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4"/>
              </a:rPr>
              <a:t>Use log files to monitor and troubleshoot Microsoft Teams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5"/>
              </a:rPr>
              <a:t>My user has a mailbox both on-premises and in Exchange Online. Help!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6"/>
              </a:rPr>
              <a:t>Troubleshoot Microsoft Teams and Exchange Server interaction issues</a:t>
            </a:r>
            <a:r>
              <a:rPr lang="en-US" dirty="0"/>
              <a:t> 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7"/>
              </a:rPr>
              <a:t>Exchange Server 2016 Life-Cycle Policy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8"/>
              </a:rPr>
              <a:t>Exchange Server 2019 Life-Cycle Policy</a:t>
            </a:r>
            <a:r>
              <a:rPr lang="en-US" dirty="0"/>
              <a:t> 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49901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F1A7EC-6A32-4199-BF58-37DC1A634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C48B9D-1EC4-4ACF-9074-730242A4E6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2"/>
              </a:rPr>
              <a:t>Microsoft Teams and on-premises mailboxes: Part 1 – How do Teams and Exchange Server interact?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3"/>
              </a:rPr>
              <a:t>Microsoft Teams and on-premises mailboxes: Part 2 - Teams Calendar App Troubleshooting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hlinkClick r:id="rId4"/>
              </a:rPr>
              <a:t>Microsoft Teams and on-premises mailboxes: Part 3 – Calendar-Based Presence and Delegates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569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4E5FDB5-346C-471F-8351-70738465B4EC}"/>
              </a:ext>
            </a:extLst>
          </p:cNvPr>
          <p:cNvSpPr txBox="1">
            <a:spLocks/>
          </p:cNvSpPr>
          <p:nvPr/>
        </p:nvSpPr>
        <p:spPr>
          <a:xfrm>
            <a:off x="1597572" y="1449389"/>
            <a:ext cx="5674085" cy="47476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kern="0" dirty="0"/>
              <a:t>Thomas Stensitzk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/>
              <a:t>MVP | MCSM </a:t>
            </a:r>
            <a:r>
              <a:rPr lang="de-DE" sz="2000" kern="0" dirty="0"/>
              <a:t>| MCT Regional Lead 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  <a:br>
              <a:rPr lang="de-DE" sz="2000" kern="0" dirty="0"/>
            </a:br>
            <a:endParaRPr lang="de-DE" sz="2000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>
                <a:hlinkClick r:id="rId4"/>
              </a:rPr>
              <a:t>https://www.linkedin.com/in/thomasstensitzki</a:t>
            </a:r>
            <a:r>
              <a:rPr lang="de-DE" sz="2000" kern="0" dirty="0"/>
              <a:t> </a:t>
            </a:r>
          </a:p>
        </p:txBody>
      </p:sp>
      <p:pic>
        <p:nvPicPr>
          <p:cNvPr id="3" name="Grafik 2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6356826F-9AD4-4296-A087-B7EC209468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44" y="1449389"/>
            <a:ext cx="1726913" cy="696744"/>
          </a:xfrm>
          <a:prstGeom prst="rect">
            <a:avLst/>
          </a:prstGeom>
        </p:spPr>
      </p:pic>
      <p:pic>
        <p:nvPicPr>
          <p:cNvPr id="4" name="Grafik 3" descr="Ein Bild, das Screenshot, Text enthält.&#10;&#10;Automatisch generierte Beschreibung">
            <a:hlinkClick r:id="rId6"/>
            <a:extLst>
              <a:ext uri="{FF2B5EF4-FFF2-40B4-BE49-F238E27FC236}">
                <a16:creationId xmlns:a16="http://schemas.microsoft.com/office/drawing/2014/main" id="{99A4F69E-EE37-4542-B33E-487B2CCDCC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477" y="2735621"/>
            <a:ext cx="1902250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Grafik 4">
            <a:hlinkClick r:id="rId8"/>
            <a:extLst>
              <a:ext uri="{FF2B5EF4-FFF2-40B4-BE49-F238E27FC236}">
                <a16:creationId xmlns:a16="http://schemas.microsoft.com/office/drawing/2014/main" id="{6BC7B4DE-FA74-4DE4-A0BB-5A9AEF71D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6293" y="2735621"/>
            <a:ext cx="2121968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54068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237" y="242626"/>
            <a:ext cx="10515600" cy="986005"/>
          </a:xfrm>
        </p:spPr>
        <p:txBody>
          <a:bodyPr>
            <a:normAutofit/>
          </a:bodyPr>
          <a:lstStyle/>
          <a:p>
            <a:r>
              <a:rPr lang="de-DE" sz="4000" dirty="0"/>
              <a:t>Titel/Überschrift/Headline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B6C82018-3793-45F7-8433-BA8EB69B985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4237" y="1825625"/>
            <a:ext cx="10515600" cy="3611538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23949"/>
                </a:solidFill>
              </a:rPr>
              <a:t>Inhalt</a:t>
            </a:r>
          </a:p>
          <a:p>
            <a:r>
              <a:rPr lang="de-DE" dirty="0">
                <a:solidFill>
                  <a:srgbClr val="023949"/>
                </a:solidFill>
              </a:rPr>
              <a:t>Erstes Kapitel Überschrift</a:t>
            </a:r>
          </a:p>
          <a:p>
            <a:r>
              <a:rPr lang="de-DE" dirty="0">
                <a:solidFill>
                  <a:srgbClr val="023949"/>
                </a:solidFill>
              </a:rPr>
              <a:t>Zwei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Drit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Vier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Usw.</a:t>
            </a: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08ABE5-F255-4657-9558-C1FEBA17B443}"/>
              </a:ext>
            </a:extLst>
          </p:cNvPr>
          <p:cNvSpPr txBox="1"/>
          <p:nvPr/>
        </p:nvSpPr>
        <p:spPr>
          <a:xfrm>
            <a:off x="1534237" y="1055224"/>
            <a:ext cx="5108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Untertitel/Subheadline</a:t>
            </a:r>
          </a:p>
        </p:txBody>
      </p:sp>
    </p:spTree>
    <p:extLst>
      <p:ext uri="{BB962C8B-B14F-4D97-AF65-F5344CB8AC3E}">
        <p14:creationId xmlns:p14="http://schemas.microsoft.com/office/powerpoint/2010/main" val="3559981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/>
              <a:t>Microsoft Teams und lokale Exchange Postfäch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F80CD9-4281-4C36-BA8A-9DD8EEC484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arum?</a:t>
            </a:r>
          </a:p>
        </p:txBody>
      </p:sp>
    </p:spTree>
    <p:extLst>
      <p:ext uri="{BB962C8B-B14F-4D97-AF65-F5344CB8AC3E}">
        <p14:creationId xmlns:p14="http://schemas.microsoft.com/office/powerpoint/2010/main" val="15691806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1791B9-B4AE-4A5B-A1DC-8362759E76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echtliche oder Compliance Anforderunge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egulierte Geschäftszweig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Finanz- oder Energiesektor, Kanzlei, kritische Infrastruktur (KRITIS), …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Vertragliche Abhängigkeiten mit Kunde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Anforderungen an Datensicherung und Wiederherstellung von E-Mail-Postfachinhalte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Und Vieles mehr…</a:t>
            </a:r>
            <a:br>
              <a:rPr lang="de-DE" dirty="0"/>
            </a:br>
            <a:endParaRPr lang="de-DE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Fehlendes Vertrauen in Microsoft als Cloud Provider</a:t>
            </a:r>
          </a:p>
          <a:p>
            <a:pPr marL="457200" lvl="1" indent="0">
              <a:buNone/>
            </a:pP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Ist Cloud wirklich die richtige Lösung für Ihr Unternehmen?</a:t>
            </a:r>
            <a:br>
              <a:rPr lang="de-DE" dirty="0"/>
            </a:b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1C82375-EAE6-497D-9F53-BD5A6F887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und lokale Exchange Postfächer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8EBC097-5AC3-4B9C-915F-AEF2D03BAC2F}"/>
              </a:ext>
            </a:extLst>
          </p:cNvPr>
          <p:cNvGrpSpPr/>
          <p:nvPr/>
        </p:nvGrpSpPr>
        <p:grpSpPr>
          <a:xfrm>
            <a:off x="3242355" y="4591682"/>
            <a:ext cx="6428015" cy="1536097"/>
            <a:chOff x="2968233" y="4738034"/>
            <a:chExt cx="6428015" cy="1536097"/>
          </a:xfrm>
        </p:grpSpPr>
        <p:sp>
          <p:nvSpPr>
            <p:cNvPr id="7" name="Rechteck: diagonal liegende Ecken abgeschnitten 6">
              <a:extLst>
                <a:ext uri="{FF2B5EF4-FFF2-40B4-BE49-F238E27FC236}">
                  <a16:creationId xmlns:a16="http://schemas.microsoft.com/office/drawing/2014/main" id="{9F0327FB-23C0-4446-8D33-5926DA2AC3B0}"/>
                </a:ext>
              </a:extLst>
            </p:cNvPr>
            <p:cNvSpPr/>
            <p:nvPr/>
          </p:nvSpPr>
          <p:spPr>
            <a:xfrm>
              <a:off x="2968233" y="4738034"/>
              <a:ext cx="6428015" cy="1536097"/>
            </a:xfrm>
            <a:prstGeom prst="snip2Diag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Was sind Ihre Anforderungen, um E-Mail-Postfächer</a:t>
              </a:r>
              <a:br>
                <a:rPr lang="de-DE" dirty="0"/>
              </a:br>
              <a:r>
                <a:rPr lang="de-DE" dirty="0"/>
                <a:t>weiterhin in einer lokalen Exchange Organisation bereitzustellen?</a:t>
              </a:r>
            </a:p>
          </p:txBody>
        </p:sp>
        <p:pic>
          <p:nvPicPr>
            <p:cNvPr id="8" name="Grafik 7" descr="Fragen mit einfarbiger Füllung">
              <a:extLst>
                <a:ext uri="{FF2B5EF4-FFF2-40B4-BE49-F238E27FC236}">
                  <a16:creationId xmlns:a16="http://schemas.microsoft.com/office/drawing/2014/main" id="{0F0BE358-9CB6-4650-AD96-7D128B547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87255" y="535973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3654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A6FC373-A73D-4982-9EEE-DE30FCA6E3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7875" y="1498269"/>
            <a:ext cx="3809850" cy="3964942"/>
          </a:xfrm>
        </p:spPr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Persönlicher Kalender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Kalenderstellvertretung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Präsenzstatu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623BB1-5F61-4460-9C6E-344A32560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und lokale Postfächer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1596EF1-5E43-4A1F-A123-539E11183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5004" y="1498269"/>
            <a:ext cx="6746996" cy="339458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AA72CE-A206-49B7-A22A-3E4DFF7E499D}"/>
              </a:ext>
            </a:extLst>
          </p:cNvPr>
          <p:cNvSpPr/>
          <p:nvPr/>
        </p:nvSpPr>
        <p:spPr>
          <a:xfrm>
            <a:off x="5685211" y="1655729"/>
            <a:ext cx="6506789" cy="323712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C37B83-42F0-4081-BA6F-665AE36E5553}"/>
              </a:ext>
            </a:extLst>
          </p:cNvPr>
          <p:cNvSpPr/>
          <p:nvPr/>
        </p:nvSpPr>
        <p:spPr>
          <a:xfrm>
            <a:off x="5445006" y="2222272"/>
            <a:ext cx="240205" cy="289929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9098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BCF647F-140D-4812-B695-3B477F1D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Kalenderzugriff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CAB63732-0921-491F-9A2C-C647CED9451B}"/>
              </a:ext>
            </a:extLst>
          </p:cNvPr>
          <p:cNvSpPr/>
          <p:nvPr/>
        </p:nvSpPr>
        <p:spPr>
          <a:xfrm>
            <a:off x="8262304" y="2437800"/>
            <a:ext cx="1998585" cy="62751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line</a:t>
            </a:r>
          </a:p>
        </p:txBody>
      </p:sp>
      <p:sp>
        <p:nvSpPr>
          <p:cNvPr id="5" name="Rectangle 60">
            <a:extLst>
              <a:ext uri="{FF2B5EF4-FFF2-40B4-BE49-F238E27FC236}">
                <a16:creationId xmlns:a16="http://schemas.microsoft.com/office/drawing/2014/main" id="{69178C92-87B5-448E-915D-7C7751650535}"/>
              </a:ext>
            </a:extLst>
          </p:cNvPr>
          <p:cNvSpPr/>
          <p:nvPr/>
        </p:nvSpPr>
        <p:spPr>
          <a:xfrm>
            <a:off x="6209578" y="2213701"/>
            <a:ext cx="914400" cy="1075710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 Backend Services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1F5A31C3-D5B9-45D5-A285-56DEA352B6B6}"/>
              </a:ext>
            </a:extLst>
          </p:cNvPr>
          <p:cNvSpPr/>
          <p:nvPr/>
        </p:nvSpPr>
        <p:spPr>
          <a:xfrm>
            <a:off x="2579347" y="1423922"/>
            <a:ext cx="1596112" cy="4435202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737373"/>
            </a:solidFill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t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Segoe UI"/>
                <a:cs typeface="Segoe UI Light" panose="020B0502040204020203" pitchFamily="34" charset="0"/>
              </a:rPr>
              <a:t>Teams Clients</a:t>
            </a: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40137520-C362-42A8-8FDA-F93747C56E9C}"/>
              </a:ext>
            </a:extLst>
          </p:cNvPr>
          <p:cNvSpPr/>
          <p:nvPr/>
        </p:nvSpPr>
        <p:spPr>
          <a:xfrm>
            <a:off x="2757655" y="2585163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ktop</a:t>
            </a:r>
          </a:p>
        </p:txBody>
      </p:sp>
      <p:sp>
        <p:nvSpPr>
          <p:cNvPr id="8" name="Rounded Rectangle 14">
            <a:extLst>
              <a:ext uri="{FF2B5EF4-FFF2-40B4-BE49-F238E27FC236}">
                <a16:creationId xmlns:a16="http://schemas.microsoft.com/office/drawing/2014/main" id="{B67A62EA-7678-4584-9BAA-2964B13CA576}"/>
              </a:ext>
            </a:extLst>
          </p:cNvPr>
          <p:cNvSpPr/>
          <p:nvPr/>
        </p:nvSpPr>
        <p:spPr>
          <a:xfrm>
            <a:off x="2765699" y="3383462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9" name="Rounded Rectangle 15">
            <a:extLst>
              <a:ext uri="{FF2B5EF4-FFF2-40B4-BE49-F238E27FC236}">
                <a16:creationId xmlns:a16="http://schemas.microsoft.com/office/drawing/2014/main" id="{8CDAA1AD-0CD8-43B7-BAAC-CB36B91FD082}"/>
              </a:ext>
            </a:extLst>
          </p:cNvPr>
          <p:cNvSpPr/>
          <p:nvPr/>
        </p:nvSpPr>
        <p:spPr>
          <a:xfrm>
            <a:off x="2765699" y="4181761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roi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10" name="Rounded Rectangle 12">
            <a:extLst>
              <a:ext uri="{FF2B5EF4-FFF2-40B4-BE49-F238E27FC236}">
                <a16:creationId xmlns:a16="http://schemas.microsoft.com/office/drawing/2014/main" id="{13D8CE29-2F33-4CF9-BCD5-2D2D64D48FA3}"/>
              </a:ext>
            </a:extLst>
          </p:cNvPr>
          <p:cNvSpPr/>
          <p:nvPr/>
        </p:nvSpPr>
        <p:spPr>
          <a:xfrm>
            <a:off x="2765699" y="1782784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eb</a:t>
            </a:r>
          </a:p>
        </p:txBody>
      </p:sp>
      <p:sp>
        <p:nvSpPr>
          <p:cNvPr id="11" name="Rounded Rectangle 15">
            <a:extLst>
              <a:ext uri="{FF2B5EF4-FFF2-40B4-BE49-F238E27FC236}">
                <a16:creationId xmlns:a16="http://schemas.microsoft.com/office/drawing/2014/main" id="{6A143A59-8CB5-4EA5-A857-CB84FFFA8C29}"/>
              </a:ext>
            </a:extLst>
          </p:cNvPr>
          <p:cNvSpPr/>
          <p:nvPr/>
        </p:nvSpPr>
        <p:spPr>
          <a:xfrm>
            <a:off x="2765699" y="498006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ph API</a:t>
            </a:r>
          </a:p>
        </p:txBody>
      </p:sp>
      <p:cxnSp>
        <p:nvCxnSpPr>
          <p:cNvPr id="12" name="Straight Connector 104">
            <a:extLst>
              <a:ext uri="{FF2B5EF4-FFF2-40B4-BE49-F238E27FC236}">
                <a16:creationId xmlns:a16="http://schemas.microsoft.com/office/drawing/2014/main" id="{72D423E8-DA8C-44BD-B3DB-1005546615FB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4175459" y="2751556"/>
            <a:ext cx="2034119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3" name="Straight Connector 104">
            <a:extLst>
              <a:ext uri="{FF2B5EF4-FFF2-40B4-BE49-F238E27FC236}">
                <a16:creationId xmlns:a16="http://schemas.microsoft.com/office/drawing/2014/main" id="{CB1CEF64-8607-41FF-90A8-022D9B5B8616}"/>
              </a:ext>
            </a:extLst>
          </p:cNvPr>
          <p:cNvCxnSpPr>
            <a:cxnSpLocks/>
            <a:stCxn id="4" idx="1"/>
            <a:endCxn id="5" idx="3"/>
          </p:cNvCxnSpPr>
          <p:nvPr/>
        </p:nvCxnSpPr>
        <p:spPr>
          <a:xfrm flipH="1">
            <a:off x="7123978" y="2751556"/>
            <a:ext cx="1138326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4" name="Rectangle 7">
            <a:extLst>
              <a:ext uri="{FF2B5EF4-FFF2-40B4-BE49-F238E27FC236}">
                <a16:creationId xmlns:a16="http://schemas.microsoft.com/office/drawing/2014/main" id="{7305FDD7-7CDE-4B36-B63E-EEF48C4C23C6}"/>
              </a:ext>
            </a:extLst>
          </p:cNvPr>
          <p:cNvSpPr/>
          <p:nvPr/>
        </p:nvSpPr>
        <p:spPr>
          <a:xfrm>
            <a:off x="5679077" y="4463551"/>
            <a:ext cx="1998585" cy="485063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-Premises</a:t>
            </a:r>
          </a:p>
        </p:txBody>
      </p:sp>
      <p:cxnSp>
        <p:nvCxnSpPr>
          <p:cNvPr id="15" name="Straight Connector 104">
            <a:extLst>
              <a:ext uri="{FF2B5EF4-FFF2-40B4-BE49-F238E27FC236}">
                <a16:creationId xmlns:a16="http://schemas.microsoft.com/office/drawing/2014/main" id="{6AB310FC-3F10-4858-AEF4-C66D86A18B12}"/>
              </a:ext>
            </a:extLst>
          </p:cNvPr>
          <p:cNvCxnSpPr>
            <a:cxnSpLocks/>
            <a:stCxn id="14" idx="0"/>
            <a:endCxn id="5" idx="2"/>
          </p:cNvCxnSpPr>
          <p:nvPr/>
        </p:nvCxnSpPr>
        <p:spPr>
          <a:xfrm flipH="1" flipV="1">
            <a:off x="6666778" y="3289411"/>
            <a:ext cx="11592" cy="117414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6" name="Straight Connector 104">
            <a:extLst>
              <a:ext uri="{FF2B5EF4-FFF2-40B4-BE49-F238E27FC236}">
                <a16:creationId xmlns:a16="http://schemas.microsoft.com/office/drawing/2014/main" id="{46D2E835-827F-432D-9539-BEC7072E4AC1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6678370" y="4948614"/>
            <a:ext cx="0" cy="24020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26D6F219-624F-4229-BAE2-94EF34E1F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7137" y="4947675"/>
            <a:ext cx="390525" cy="35242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6573ADB-0B5E-4567-9F70-D0BC86960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6419" y="5162927"/>
            <a:ext cx="723900" cy="60007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5E8C4643-D8E7-4680-9BB8-32901409BD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1444" y="5548689"/>
            <a:ext cx="400050" cy="428625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E422625-2385-443E-A3EE-1B7931D34646}"/>
              </a:ext>
            </a:extLst>
          </p:cNvPr>
          <p:cNvCxnSpPr/>
          <p:nvPr/>
        </p:nvCxnSpPr>
        <p:spPr>
          <a:xfrm>
            <a:off x="7152736" y="2621360"/>
            <a:ext cx="10808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DCD73E32-3B3A-48B2-B5DF-C5E12005A187}"/>
              </a:ext>
            </a:extLst>
          </p:cNvPr>
          <p:cNvCxnSpPr>
            <a:cxnSpLocks/>
          </p:cNvCxnSpPr>
          <p:nvPr/>
        </p:nvCxnSpPr>
        <p:spPr>
          <a:xfrm>
            <a:off x="6486076" y="3289411"/>
            <a:ext cx="0" cy="11741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462924A-C23A-45BA-AE98-705CFBCED271}"/>
              </a:ext>
            </a:extLst>
          </p:cNvPr>
          <p:cNvCxnSpPr>
            <a:cxnSpLocks/>
          </p:cNvCxnSpPr>
          <p:nvPr/>
        </p:nvCxnSpPr>
        <p:spPr>
          <a:xfrm>
            <a:off x="6846698" y="3289411"/>
            <a:ext cx="0" cy="1174141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4FDBAFBD-F4FD-40A6-8270-E009771F7FB4}"/>
              </a:ext>
            </a:extLst>
          </p:cNvPr>
          <p:cNvSpPr txBox="1"/>
          <p:nvPr/>
        </p:nvSpPr>
        <p:spPr>
          <a:xfrm>
            <a:off x="7074500" y="2062184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3A0C2E6-1889-4747-88FD-B1405FE66A70}"/>
              </a:ext>
            </a:extLst>
          </p:cNvPr>
          <p:cNvSpPr txBox="1"/>
          <p:nvPr/>
        </p:nvSpPr>
        <p:spPr>
          <a:xfrm rot="16200000">
            <a:off x="5791238" y="3663735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F32733B-6C7D-4625-8A72-500A9E230E9C}"/>
              </a:ext>
            </a:extLst>
          </p:cNvPr>
          <p:cNvSpPr txBox="1"/>
          <p:nvPr/>
        </p:nvSpPr>
        <p:spPr>
          <a:xfrm rot="16200000">
            <a:off x="6351167" y="3704274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5"/>
                </a:solidFill>
              </a:rPr>
              <a:t>EWS / REST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F6F0DB1-143E-4B2E-ACFD-887C1B565B0A}"/>
              </a:ext>
            </a:extLst>
          </p:cNvPr>
          <p:cNvSpPr txBox="1"/>
          <p:nvPr/>
        </p:nvSpPr>
        <p:spPr>
          <a:xfrm>
            <a:off x="7074500" y="2685745"/>
            <a:ext cx="1187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2"/>
                </a:solidFill>
              </a:rPr>
              <a:t>302 HTTP</a:t>
            </a:r>
            <a:br>
              <a:rPr lang="de-DE" sz="1200" b="1" dirty="0">
                <a:solidFill>
                  <a:schemeClr val="accent2"/>
                </a:solidFill>
              </a:rPr>
            </a:br>
            <a:r>
              <a:rPr lang="de-DE" sz="1200" b="1" dirty="0">
                <a:solidFill>
                  <a:schemeClr val="accent2"/>
                </a:solidFill>
              </a:rPr>
              <a:t>Redirect</a:t>
            </a:r>
          </a:p>
        </p:txBody>
      </p:sp>
      <p:pic>
        <p:nvPicPr>
          <p:cNvPr id="27" name="Grafik 26" descr="Marke 1 mit einfarbiger Füllung">
            <a:extLst>
              <a:ext uri="{FF2B5EF4-FFF2-40B4-BE49-F238E27FC236}">
                <a16:creationId xmlns:a16="http://schemas.microsoft.com/office/drawing/2014/main" id="{E2386A0B-8486-4DF5-B6ED-9082032A43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65896" y="2119649"/>
            <a:ext cx="392815" cy="392815"/>
          </a:xfrm>
          <a:prstGeom prst="rect">
            <a:avLst/>
          </a:prstGeom>
        </p:spPr>
      </p:pic>
      <p:pic>
        <p:nvPicPr>
          <p:cNvPr id="28" name="Grafik 27" descr="Abzeichen mit einfarbiger Füllung">
            <a:extLst>
              <a:ext uri="{FF2B5EF4-FFF2-40B4-BE49-F238E27FC236}">
                <a16:creationId xmlns:a16="http://schemas.microsoft.com/office/drawing/2014/main" id="{2C835D62-590F-4A12-A8E6-5B5DE58DE1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88174" y="4134911"/>
            <a:ext cx="397362" cy="397362"/>
          </a:xfrm>
          <a:prstGeom prst="rect">
            <a:avLst/>
          </a:prstGeom>
        </p:spPr>
      </p:pic>
      <p:pic>
        <p:nvPicPr>
          <p:cNvPr id="29" name="Grafik 28" descr="Marke 3 mit einfarbiger Füllung">
            <a:extLst>
              <a:ext uri="{FF2B5EF4-FFF2-40B4-BE49-F238E27FC236}">
                <a16:creationId xmlns:a16="http://schemas.microsoft.com/office/drawing/2014/main" id="{D73B806F-F11D-43F8-9F9D-2FA1BF91A3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54054" y="4138963"/>
            <a:ext cx="397363" cy="39736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20609195-BB4B-4DC8-9D53-E19625C5CC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975" y="3383462"/>
            <a:ext cx="723900" cy="600075"/>
          </a:xfrm>
          <a:prstGeom prst="rect">
            <a:avLst/>
          </a:prstGeom>
        </p:spPr>
      </p:pic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C600CC3-FE88-4363-953F-4443CF40AD45}"/>
              </a:ext>
            </a:extLst>
          </p:cNvPr>
          <p:cNvCxnSpPr>
            <a:cxnSpLocks/>
          </p:cNvCxnSpPr>
          <p:nvPr/>
        </p:nvCxnSpPr>
        <p:spPr>
          <a:xfrm>
            <a:off x="4175459" y="2621360"/>
            <a:ext cx="2034119" cy="0"/>
          </a:xfrm>
          <a:prstGeom prst="straightConnector1">
            <a:avLst/>
          </a:prstGeom>
          <a:ln>
            <a:solidFill>
              <a:srgbClr val="464775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2" name="Rectangle 7">
            <a:extLst>
              <a:ext uri="{FF2B5EF4-FFF2-40B4-BE49-F238E27FC236}">
                <a16:creationId xmlns:a16="http://schemas.microsoft.com/office/drawing/2014/main" id="{21290FA4-3C92-4122-8C96-4BACFF08E1E3}"/>
              </a:ext>
            </a:extLst>
          </p:cNvPr>
          <p:cNvSpPr/>
          <p:nvPr/>
        </p:nvSpPr>
        <p:spPr>
          <a:xfrm>
            <a:off x="8755764" y="2905203"/>
            <a:ext cx="1011663" cy="541475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Mail User Object</a:t>
            </a:r>
          </a:p>
        </p:txBody>
      </p:sp>
    </p:spTree>
    <p:extLst>
      <p:ext uri="{BB962C8B-B14F-4D97-AF65-F5344CB8AC3E}">
        <p14:creationId xmlns:p14="http://schemas.microsoft.com/office/powerpoint/2010/main" val="135159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26" grpId="0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27">
            <a:extLst>
              <a:ext uri="{FF2B5EF4-FFF2-40B4-BE49-F238E27FC236}">
                <a16:creationId xmlns:a16="http://schemas.microsoft.com/office/drawing/2014/main" id="{ECCAAE3B-9F90-43B3-8EB4-FD9D56703CA0}"/>
              </a:ext>
            </a:extLst>
          </p:cNvPr>
          <p:cNvSpPr/>
          <p:nvPr/>
        </p:nvSpPr>
        <p:spPr bwMode="auto">
          <a:xfrm>
            <a:off x="5717972" y="342900"/>
            <a:ext cx="6474028" cy="645080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11B533-F2B7-4068-821E-FFEA9877E734}"/>
              </a:ext>
            </a:extLst>
          </p:cNvPr>
          <p:cNvSpPr txBox="1">
            <a:spLocks/>
          </p:cNvSpPr>
          <p:nvPr/>
        </p:nvSpPr>
        <p:spPr>
          <a:xfrm>
            <a:off x="344719" y="1405200"/>
            <a:ext cx="5373254" cy="5452800"/>
          </a:xfrm>
          <a:prstGeom prst="rect">
            <a:avLst/>
          </a:prstGeom>
        </p:spPr>
        <p:txBody>
          <a:bodyPr/>
          <a:lstStyle>
            <a:lvl1pPr marL="285750" marR="0" indent="-285750" algn="l" defTabSz="685955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120000"/>
              <a:buFont typeface="Wingdings" panose="05000000000000000000" pitchFamily="2" charset="2"/>
              <a:buChar char="§"/>
              <a:tabLst/>
              <a:defRPr sz="1600" kern="1200" spc="-53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9931" marR="0" indent="-175069" algn="l" defTabSz="68595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"/>
              <a:tabLst/>
              <a:defRPr sz="1400" kern="1200" spc="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2pPr>
            <a:lvl3pPr marL="599044" marR="0" indent="-169114" algn="l" defTabSz="68595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"/>
              <a:tabLst>
                <a:tab pos="599044" algn="l"/>
              </a:tabLst>
              <a:defRPr sz="1800" kern="1200" spc="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3pPr>
            <a:lvl4pPr marL="772922" marR="0" indent="-173878" algn="l" defTabSz="68595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"/>
              <a:tabLst/>
              <a:defRPr sz="1500" kern="1200" spc="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4pPr>
            <a:lvl5pPr marL="942036" marR="0" indent="-169114" algn="l" defTabSz="68595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"/>
              <a:tabLst>
                <a:tab pos="942036" algn="l"/>
              </a:tabLst>
              <a:defRPr sz="1500" kern="1200" spc="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5pPr>
            <a:lvl6pPr marL="1886377" indent="-171489" algn="l" defTabSz="6859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355" indent="-171489" algn="l" defTabSz="6859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333" indent="-171489" algn="l" defTabSz="6859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311" indent="-171489" algn="l" defTabSz="6859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20000"/>
              <a:tabLst/>
              <a:defRPr/>
            </a:pPr>
            <a:r>
              <a:rPr lang="de-DE" sz="2000" dirty="0">
                <a:solidFill>
                  <a:schemeClr val="tx1"/>
                </a:solidFill>
              </a:rPr>
              <a:t>Active Directory Hybrid mit Azure AD Connect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Option </a:t>
            </a:r>
            <a:r>
              <a:rPr lang="de-DE" sz="1600" b="1" dirty="0">
                <a:solidFill>
                  <a:schemeClr val="tx1"/>
                </a:solidFill>
              </a:rPr>
              <a:t>Exchange Hybrid </a:t>
            </a:r>
            <a:r>
              <a:rPr lang="de-DE" sz="1600" dirty="0">
                <a:solidFill>
                  <a:schemeClr val="tx1"/>
                </a:solidFill>
              </a:rPr>
              <a:t>aktiviert</a:t>
            </a:r>
          </a:p>
          <a:p>
            <a:pPr defTabSz="91440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</a:pPr>
            <a:r>
              <a:rPr lang="de-DE" sz="2000" dirty="0">
                <a:solidFill>
                  <a:schemeClr val="tx1"/>
                </a:solidFill>
              </a:rPr>
              <a:t>SMTP-Verbindung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Separater Hostname (z.B. smtp365.varunagroup.de) 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Zusätzliche öffentliche IP-Adresse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solidFill>
                  <a:schemeClr val="tx1"/>
                </a:solidFill>
              </a:rPr>
              <a:t>TLS-Zertifikat für Hostnamen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solidFill>
                  <a:schemeClr val="tx1"/>
                </a:solidFill>
              </a:rPr>
              <a:t>Edge Transport Rolle im Perimeter Netzwerk (A)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solidFill>
                  <a:schemeClr val="tx1"/>
                </a:solidFill>
              </a:rPr>
              <a:t>Alternativ, direkte eingehende Verbindung (B)</a:t>
            </a:r>
          </a:p>
          <a:p>
            <a:pPr defTabSz="91440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</a:pPr>
            <a:r>
              <a:rPr lang="de-DE" sz="2000" dirty="0">
                <a:solidFill>
                  <a:schemeClr val="tx1"/>
                </a:solidFill>
              </a:rPr>
              <a:t>Eingehende HTTPS-Verbindung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solidFill>
                  <a:schemeClr val="tx1"/>
                </a:solidFill>
              </a:rPr>
              <a:t>Veröffentlichung in über Reverse Proxy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de-DE" sz="1600" dirty="0">
                <a:solidFill>
                  <a:schemeClr val="tx1"/>
                </a:solidFill>
              </a:rPr>
              <a:t>Zusätzliche öffentliche IP-Adresse</a:t>
            </a:r>
          </a:p>
          <a:p>
            <a:pPr lvl="0" defTabSz="914400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defRPr/>
            </a:pPr>
            <a:r>
              <a:rPr lang="de-DE" sz="2000" dirty="0">
                <a:solidFill>
                  <a:schemeClr val="tx1"/>
                </a:solidFill>
              </a:rPr>
              <a:t>Ausgehende HTTPS-Verbindung</a:t>
            </a:r>
          </a:p>
          <a:p>
            <a:pPr marL="742950" lvl="1" indent="-285750" defTabSz="914400">
              <a:spcBef>
                <a:spcPts val="50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Interne Exchange Server zu Exchange Online</a:t>
            </a:r>
          </a:p>
          <a:p>
            <a:pPr marR="0" lvl="1" algn="l" defTabSz="68595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anose="05000000000000000000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3B31837-3BA2-4673-8FCA-12069CF89A52}"/>
              </a:ext>
            </a:extLst>
          </p:cNvPr>
          <p:cNvGrpSpPr/>
          <p:nvPr/>
        </p:nvGrpSpPr>
        <p:grpSpPr>
          <a:xfrm>
            <a:off x="6532873" y="5161279"/>
            <a:ext cx="3762869" cy="1099821"/>
            <a:chOff x="6532873" y="5161279"/>
            <a:chExt cx="3762869" cy="1099821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AC98CB09-1004-4859-8EDF-53674F145C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AC36CC2-EE1C-4753-9C03-1C12D4006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0D2FFDB-3631-4209-90AF-17B367BC8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980254C9-8C6E-4F30-B45B-6A812281602C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sation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32FA642-AB8E-4AD5-AE59-CD398ACE4EBD}"/>
              </a:ext>
            </a:extLst>
          </p:cNvPr>
          <p:cNvSpPr/>
          <p:nvPr/>
        </p:nvSpPr>
        <p:spPr>
          <a:xfrm>
            <a:off x="5811520" y="1696721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rgbClr val="A5C249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A5C2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K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AABEFE6-093A-4C28-90AC-0FEC9B063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08218" y="5222920"/>
            <a:ext cx="685800" cy="800100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666A82B-4E5F-4B39-BBCC-4AD8BB493E70}"/>
              </a:ext>
            </a:extLst>
          </p:cNvPr>
          <p:cNvSpPr/>
          <p:nvPr/>
        </p:nvSpPr>
        <p:spPr>
          <a:xfrm>
            <a:off x="6390641" y="3625986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zwerk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8F635F9-55C8-4571-86C9-6E45156B1B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6670" y="3902344"/>
            <a:ext cx="609600" cy="752475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F5E3C90-E9EC-464B-B50E-11514568EC76}"/>
              </a:ext>
            </a:extLst>
          </p:cNvPr>
          <p:cNvGrpSpPr/>
          <p:nvPr/>
        </p:nvGrpSpPr>
        <p:grpSpPr>
          <a:xfrm>
            <a:off x="6390641" y="430900"/>
            <a:ext cx="5737200" cy="2110279"/>
            <a:chOff x="6390641" y="430900"/>
            <a:chExt cx="5737200" cy="2110279"/>
          </a:xfrm>
        </p:grpSpPr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3BCE34C9-CD03-43A4-85BC-967EAFB64D2A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D949C1D-85B8-4CF0-A733-020891DE9E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485594" y="430900"/>
              <a:ext cx="1642247" cy="1075955"/>
            </a:xfrm>
            <a:prstGeom prst="rect">
              <a:avLst/>
            </a:prstGeom>
          </p:spPr>
        </p:pic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75E109E-C71C-41F1-9F39-45D85D8FA13C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C7D167BD-3365-44BB-AADC-A2D2347DA2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86799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20" name="Rechteck: abgerundete Ecken 19">
                <a:extLst>
                  <a:ext uri="{FF2B5EF4-FFF2-40B4-BE49-F238E27FC236}">
                    <a16:creationId xmlns:a16="http://schemas.microsoft.com/office/drawing/2014/main" id="{0A87B738-4510-47F3-8ACA-99530BB9A1F7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18" name="Rechteck: abgerundete Ecken 17">
              <a:extLst>
                <a:ext uri="{FF2B5EF4-FFF2-40B4-BE49-F238E27FC236}">
                  <a16:creationId xmlns:a16="http://schemas.microsoft.com/office/drawing/2014/main" id="{942D3FE0-FFCA-4A5E-8422-89E1023F4925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797FB79-7A4F-44DB-A11B-7740CD5FE580}"/>
              </a:ext>
            </a:extLst>
          </p:cNvPr>
          <p:cNvCxnSpPr>
            <a:cxnSpLocks/>
          </p:cNvCxnSpPr>
          <p:nvPr/>
        </p:nvCxnSpPr>
        <p:spPr>
          <a:xfrm flipV="1">
            <a:off x="10831702" y="2448084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rgbClr val="0BD0D9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6AF1520-87D8-4E02-93FB-879AD296ED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12477" y="3902344"/>
            <a:ext cx="771525" cy="752475"/>
          </a:xfrm>
          <a:prstGeom prst="rect">
            <a:avLst/>
          </a:prstGeom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10A1480D-C8FF-44B0-A94B-3A82A0167008}"/>
              </a:ext>
            </a:extLst>
          </p:cNvPr>
          <p:cNvCxnSpPr>
            <a:cxnSpLocks/>
          </p:cNvCxnSpPr>
          <p:nvPr/>
        </p:nvCxnSpPr>
        <p:spPr>
          <a:xfrm flipV="1">
            <a:off x="9610071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0607396-27C8-4405-9C03-71B114F6C2F9}"/>
              </a:ext>
            </a:extLst>
          </p:cNvPr>
          <p:cNvCxnSpPr>
            <a:cxnSpLocks/>
          </p:cNvCxnSpPr>
          <p:nvPr/>
        </p:nvCxnSpPr>
        <p:spPr>
          <a:xfrm flipV="1">
            <a:off x="8406002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F5E9959F-2803-4208-AD1C-26778C179053}"/>
              </a:ext>
            </a:extLst>
          </p:cNvPr>
          <p:cNvSpPr/>
          <p:nvPr/>
        </p:nvSpPr>
        <p:spPr>
          <a:xfrm>
            <a:off x="6390641" y="5034507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F6FC6"/>
                </a:solidFill>
                <a:latin typeface="Segoe UI"/>
              </a:rPr>
              <a:t>Internes Netzwerk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F6FC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5266D1C1-FFA4-496E-AF42-53A4084EDE47}"/>
              </a:ext>
            </a:extLst>
          </p:cNvPr>
          <p:cNvCxnSpPr>
            <a:cxnSpLocks/>
          </p:cNvCxnSpPr>
          <p:nvPr/>
        </p:nvCxnSpPr>
        <p:spPr>
          <a:xfrm flipV="1">
            <a:off x="8412190" y="4654819"/>
            <a:ext cx="1" cy="506460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2DC4512-972D-48D9-A2D3-548C80AA3F46}"/>
              </a:ext>
            </a:extLst>
          </p:cNvPr>
          <p:cNvCxnSpPr>
            <a:cxnSpLocks/>
          </p:cNvCxnSpPr>
          <p:nvPr/>
        </p:nvCxnSpPr>
        <p:spPr>
          <a:xfrm flipV="1">
            <a:off x="9617052" y="4597400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45870B8E-7C52-46DA-8121-6125EE6E4D9F}"/>
              </a:ext>
            </a:extLst>
          </p:cNvPr>
          <p:cNvCxnSpPr>
            <a:cxnSpLocks/>
          </p:cNvCxnSpPr>
          <p:nvPr/>
        </p:nvCxnSpPr>
        <p:spPr>
          <a:xfrm flipH="1" flipV="1">
            <a:off x="9006295" y="2448083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F90B1C2-8F81-45AE-B9EB-2F2ADD435EE4}"/>
              </a:ext>
            </a:extLst>
          </p:cNvPr>
          <p:cNvCxnSpPr>
            <a:cxnSpLocks/>
          </p:cNvCxnSpPr>
          <p:nvPr/>
        </p:nvCxnSpPr>
        <p:spPr>
          <a:xfrm flipH="1" flipV="1">
            <a:off x="7792980" y="2464526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08F12D83-D025-4291-9206-89004231F92F}"/>
              </a:ext>
            </a:extLst>
          </p:cNvPr>
          <p:cNvSpPr txBox="1"/>
          <p:nvPr/>
        </p:nvSpPr>
        <p:spPr>
          <a:xfrm rot="16200000">
            <a:off x="8788287" y="2964953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SMTP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3E1C40F-D206-4430-8407-EEDD5D138502}"/>
              </a:ext>
            </a:extLst>
          </p:cNvPr>
          <p:cNvSpPr txBox="1"/>
          <p:nvPr/>
        </p:nvSpPr>
        <p:spPr>
          <a:xfrm rot="16200000">
            <a:off x="7608718" y="2945321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B050"/>
                </a:solidFill>
                <a:latin typeface="Segoe UI"/>
              </a:rPr>
              <a:t>HTTP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C0347EF-0DCB-4A6B-953F-E8500F7BBF17}"/>
              </a:ext>
            </a:extLst>
          </p:cNvPr>
          <p:cNvSpPr txBox="1"/>
          <p:nvPr/>
        </p:nvSpPr>
        <p:spPr>
          <a:xfrm>
            <a:off x="9461483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A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31181C0-2A80-40B3-9B56-42542D491EA9}"/>
              </a:ext>
            </a:extLst>
          </p:cNvPr>
          <p:cNvSpPr txBox="1"/>
          <p:nvPr/>
        </p:nvSpPr>
        <p:spPr>
          <a:xfrm>
            <a:off x="8852060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B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9A250C-7DA7-4EE0-8592-1E94D6737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sche</a:t>
            </a:r>
            <a:r>
              <a:rPr lang="en-US" dirty="0"/>
              <a:t> </a:t>
            </a:r>
            <a:r>
              <a:rPr lang="en-US" dirty="0" err="1"/>
              <a:t>Voll-Hybridkonfigu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0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uiExpand="1" build="p"/>
      <p:bldP spid="10" grpId="0" animBg="1"/>
      <p:bldP spid="12" grpId="0" animBg="1"/>
      <p:bldP spid="25" grpId="0" animBg="1"/>
      <p:bldP spid="30" grpId="0"/>
      <p:bldP spid="31" grpId="0"/>
      <p:bldP spid="32" grpId="0"/>
      <p:bldP spid="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01F1953-F857-4EBC-A7D2-77D82DCC8E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rmittlung der </a:t>
            </a:r>
            <a:r>
              <a:rPr lang="de-DE" b="1" dirty="0"/>
              <a:t>EWS</a:t>
            </a:r>
            <a:r>
              <a:rPr lang="de-DE" dirty="0"/>
              <a:t> und </a:t>
            </a:r>
            <a:r>
              <a:rPr lang="de-DE" b="1" dirty="0"/>
              <a:t>REST</a:t>
            </a:r>
            <a:r>
              <a:rPr lang="de-DE" dirty="0"/>
              <a:t> Endpunkte per AutoDiscover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Teams Backend Services nutzen nur </a:t>
            </a:r>
            <a:r>
              <a:rPr lang="de-DE" b="1" dirty="0"/>
              <a:t>AutoDiscover v2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nonyme AutoDiscover-Anfrag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Wie funktioniert es genau?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Teams Backend Services senden eine AutoDiscover v2 Anfrage an Exchange Onlin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xchange Online überprüft den </a:t>
            </a:r>
            <a:r>
              <a:rPr lang="de-DE" b="1" dirty="0"/>
              <a:t>Empfängertyp</a:t>
            </a:r>
          </a:p>
          <a:p>
            <a:pPr lvl="2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Mailbox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Antwort</a:t>
            </a:r>
            <a:r>
              <a:rPr lang="de-DE" dirty="0"/>
              <a:t>: https://outlook.office365.com/EWS/Exchange.asmx </a:t>
            </a:r>
          </a:p>
          <a:p>
            <a:pPr lvl="2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Mail User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Berechnung des DNS AutoDiscover-Endpunktes basierend auf </a:t>
            </a:r>
            <a:br>
              <a:rPr lang="de-DE" dirty="0"/>
            </a:br>
            <a:r>
              <a:rPr lang="de-DE" i="1" dirty="0" err="1"/>
              <a:t>ExternalEmailAddress</a:t>
            </a:r>
            <a:r>
              <a:rPr lang="de-DE" i="1" dirty="0"/>
              <a:t>-Attribute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z.B. </a:t>
            </a:r>
            <a:r>
              <a:rPr lang="de-DE" dirty="0"/>
              <a:t>autodiscover.varunagroup.d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xchange Online Antwort: HTTP 302 Umleitung mit dem Hostnamen des Zielendpunkte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Teams Backend Services senden AutoDiscover v2-Anfrage an lokale Exchange Organisatio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Lokaler Exchange Server antwortet mit EWS oder REST URL 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E3B0F4-9E2B-4AE7-BA43-95D75DC35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und AutoDiscover</a:t>
            </a:r>
          </a:p>
        </p:txBody>
      </p:sp>
      <p:pic>
        <p:nvPicPr>
          <p:cNvPr id="5" name="Grafik 4" descr="Häkchen mit einfarbiger Füllung">
            <a:extLst>
              <a:ext uri="{FF2B5EF4-FFF2-40B4-BE49-F238E27FC236}">
                <a16:creationId xmlns:a16="http://schemas.microsoft.com/office/drawing/2014/main" id="{997B6BA6-4BEE-440C-99D1-2D9FE80184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53986" y="3568090"/>
            <a:ext cx="302171" cy="302171"/>
          </a:xfrm>
          <a:prstGeom prst="rect">
            <a:avLst/>
          </a:prstGeom>
        </p:spPr>
      </p:pic>
      <p:pic>
        <p:nvPicPr>
          <p:cNvPr id="6" name="Grafik 5" descr="Häkchen mit einfarbiger Füllung">
            <a:extLst>
              <a:ext uri="{FF2B5EF4-FFF2-40B4-BE49-F238E27FC236}">
                <a16:creationId xmlns:a16="http://schemas.microsoft.com/office/drawing/2014/main" id="{81FE3F01-6EE6-4A27-9A7F-430E4F6B3B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97393" y="4960710"/>
            <a:ext cx="302171" cy="30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031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 bldLvl="2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9</Words>
  <Application>Microsoft Office PowerPoint</Application>
  <PresentationFormat>Breitbild</PresentationFormat>
  <Paragraphs>160</Paragraphs>
  <Slides>18</Slides>
  <Notes>10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4" baseType="lpstr">
      <vt:lpstr>Segoe UI Light</vt:lpstr>
      <vt:lpstr>Arial</vt:lpstr>
      <vt:lpstr>Calibri</vt:lpstr>
      <vt:lpstr>Segoe UI</vt:lpstr>
      <vt:lpstr>Wingdings</vt:lpstr>
      <vt:lpstr>Office</vt:lpstr>
      <vt:lpstr>Microsoft Teams und lokale Postfächer Warum?</vt:lpstr>
      <vt:lpstr>PowerPoint-Präsentation</vt:lpstr>
      <vt:lpstr>Titel/Überschrift/Headline</vt:lpstr>
      <vt:lpstr>Microsoft Teams und lokale Exchange Postfächer</vt:lpstr>
      <vt:lpstr>Microsoft Teams und lokale Exchange Postfächer</vt:lpstr>
      <vt:lpstr>Microsoft Teams und lokale Postfächer </vt:lpstr>
      <vt:lpstr>Teams Kalenderzugriff</vt:lpstr>
      <vt:lpstr>Klassische Voll-Hybridkonfiguration</vt:lpstr>
      <vt:lpstr>Microsoft Teams und AutoDiscover</vt:lpstr>
      <vt:lpstr>Stolpersteine – Teil 1 </vt:lpstr>
      <vt:lpstr>Stolpersteine – Teil 2 </vt:lpstr>
      <vt:lpstr>Komplexes Troubleshooting</vt:lpstr>
      <vt:lpstr>Was funktioniert nicht?</vt:lpstr>
      <vt:lpstr>Fragen?</vt:lpstr>
      <vt:lpstr>PowerPoint-Präsentation</vt:lpstr>
      <vt:lpstr>Vielen Dank!</vt:lpstr>
      <vt:lpstr>Ressourcen</vt:lpstr>
      <vt:lpstr>Ressourc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 und lokale Postfächer – Warum</dc:title>
  <dc:creator>Thomas.Stensitzki@Granikos.eu</dc:creator>
  <cp:lastModifiedBy>Thomas Stensitzki</cp:lastModifiedBy>
  <cp:revision>22</cp:revision>
  <dcterms:created xsi:type="dcterms:W3CDTF">2018-06-14T07:09:38Z</dcterms:created>
  <dcterms:modified xsi:type="dcterms:W3CDTF">2021-06-30T12:12:57Z</dcterms:modified>
</cp:coreProperties>
</file>